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8" r:id="rId2"/>
  </p:sldMasterIdLst>
  <p:notesMasterIdLst>
    <p:notesMasterId r:id="rId27"/>
  </p:notesMasterIdLst>
  <p:sldIdLst>
    <p:sldId id="256" r:id="rId3"/>
    <p:sldId id="309" r:id="rId4"/>
    <p:sldId id="324" r:id="rId5"/>
    <p:sldId id="311" r:id="rId6"/>
    <p:sldId id="382" r:id="rId7"/>
    <p:sldId id="316" r:id="rId8"/>
    <p:sldId id="510" r:id="rId9"/>
    <p:sldId id="511" r:id="rId10"/>
    <p:sldId id="319" r:id="rId11"/>
    <p:sldId id="322" r:id="rId12"/>
    <p:sldId id="325" r:id="rId13"/>
    <p:sldId id="3339" r:id="rId14"/>
    <p:sldId id="3286" r:id="rId15"/>
    <p:sldId id="3317" r:id="rId16"/>
    <p:sldId id="3320" r:id="rId17"/>
    <p:sldId id="3340" r:id="rId18"/>
    <p:sldId id="323" r:id="rId19"/>
    <p:sldId id="315" r:id="rId20"/>
    <p:sldId id="3341" r:id="rId21"/>
    <p:sldId id="298" r:id="rId22"/>
    <p:sldId id="301" r:id="rId23"/>
    <p:sldId id="3342" r:id="rId24"/>
    <p:sldId id="3343" r:id="rId25"/>
    <p:sldId id="35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549"/>
    <p:restoredTop sz="91441"/>
  </p:normalViewPr>
  <p:slideViewPr>
    <p:cSldViewPr snapToGrid="0" snapToObjects="1">
      <p:cViewPr varScale="1">
        <p:scale>
          <a:sx n="97" d="100"/>
          <a:sy n="97" d="100"/>
        </p:scale>
        <p:origin x="784" y="192"/>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117F0-B1C3-4149-963C-2DBA8BADBDAB}" type="datetimeFigureOut">
              <a:rPr lang="en-US" smtClean="0"/>
              <a:t>8/3/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C93588-7122-344C-B9BA-CDC6FEFC3C3B}" type="slidenum">
              <a:rPr lang="en-US" smtClean="0"/>
              <a:t>‹#›</a:t>
            </a:fld>
            <a:endParaRPr lang="en-US"/>
          </a:p>
        </p:txBody>
      </p:sp>
    </p:spTree>
    <p:extLst>
      <p:ext uri="{BB962C8B-B14F-4D97-AF65-F5344CB8AC3E}">
        <p14:creationId xmlns:p14="http://schemas.microsoft.com/office/powerpoint/2010/main" val="11538560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A0DCD3-41BD-F14B-A5F9-675081507B23}" type="slidenum">
              <a:rPr lang="en-GB" smtClean="0"/>
              <a:t>1</a:t>
            </a:fld>
            <a:endParaRPr lang="en-GB" dirty="0"/>
          </a:p>
        </p:txBody>
      </p:sp>
    </p:spTree>
    <p:extLst>
      <p:ext uri="{BB962C8B-B14F-4D97-AF65-F5344CB8AC3E}">
        <p14:creationId xmlns:p14="http://schemas.microsoft.com/office/powerpoint/2010/main" val="353523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0B9E8EB-7375-BD42-87E2-0EA135092E6B}" type="datetime8">
              <a:rPr lang="en-US" smtClean="0">
                <a:solidFill>
                  <a:srgbClr val="000000"/>
                </a:solidFill>
              </a:rPr>
              <a:t>8/3/18 10:35 AM</a:t>
            </a:fld>
            <a:endParaRPr lang="en-US" dirty="0">
              <a:solidFill>
                <a:srgbClr val="000000"/>
              </a:solidFill>
            </a:endParaRPr>
          </a:p>
        </p:txBody>
      </p:sp>
      <p:sp>
        <p:nvSpPr>
          <p:cNvPr id="5" name="Footer Placeholder 4"/>
          <p:cNvSpPr>
            <a:spLocks noGrp="1"/>
          </p:cNvSpPr>
          <p:nvPr>
            <p:ph type="ftr" sz="quarter" idx="11"/>
          </p:nvPr>
        </p:nvSpPr>
        <p:spPr/>
        <p:txBody>
          <a:bodyPr/>
          <a:lstStyle/>
          <a:p>
            <a:r>
              <a:rPr lang="en-US" dirty="0">
                <a:solidFill>
                  <a:srgbClr val="000000"/>
                </a:solidFill>
              </a:rPr>
              <a:t>IBM confidential</a:t>
            </a:r>
          </a:p>
        </p:txBody>
      </p:sp>
    </p:spTree>
    <p:extLst>
      <p:ext uri="{BB962C8B-B14F-4D97-AF65-F5344CB8AC3E}">
        <p14:creationId xmlns:p14="http://schemas.microsoft.com/office/powerpoint/2010/main" val="3317149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631024-0AD3-4102-BCD3-3F6F1705358A}"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110792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66DE88-231C-4D4D-B914-E1E40628D2A9}"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100474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0722" name="Notes Placeholder 2"/>
          <p:cNvSpPr>
            <a:spLocks noGrp="1"/>
          </p:cNvSpPr>
          <p:nvPr>
            <p:ph type="body" idx="1"/>
          </p:nvPr>
        </p:nvSpPr>
        <p:spPr>
          <a:noFill/>
        </p:spPr>
        <p:txBody>
          <a:bodyPr/>
          <a:lstStyle/>
          <a:p>
            <a:r>
              <a:rPr lang="en-US" altLang="en-US">
                <a:latin typeface="Arial" charset="0"/>
                <a:cs typeface="Arial" charset="0"/>
              </a:rPr>
              <a:t>Utilites are one time consumption while fixed assets can be transacted multiple times.</a:t>
            </a:r>
          </a:p>
        </p:txBody>
      </p:sp>
      <p:sp>
        <p:nvSpPr>
          <p:cNvPr id="4" name="Footer Placeholder 3"/>
          <p:cNvSpPr>
            <a:spLocks noGrp="1"/>
          </p:cNvSpPr>
          <p:nvPr>
            <p:ph type="ftr" sz="quarter" idx="4"/>
          </p:nvPr>
        </p:nvSpPr>
        <p:spPr/>
        <p:txBody>
          <a:bodyPr/>
          <a:lstStyle/>
          <a:p>
            <a:pPr>
              <a:defRPr/>
            </a:pPr>
            <a:r>
              <a:rPr lang="en-US" altLang="en-US"/>
              <a:t>IBM Confidential</a:t>
            </a:r>
          </a:p>
        </p:txBody>
      </p:sp>
      <p:sp>
        <p:nvSpPr>
          <p:cNvPr id="30724" name="Slide Number Placeholder 4"/>
          <p:cNvSpPr>
            <a:spLocks noGrp="1"/>
          </p:cNvSpPr>
          <p:nvPr>
            <p:ph type="sldNum" sz="quarter" idx="5"/>
          </p:nvPr>
        </p:nvSpPr>
        <p:spPr>
          <a:noFill/>
        </p:spPr>
        <p:txBody>
          <a:bodyPr/>
          <a:lstStyle>
            <a:lvl1pPr defTabSz="930275">
              <a:defRPr sz="1600">
                <a:solidFill>
                  <a:schemeClr val="accent1"/>
                </a:solidFill>
                <a:latin typeface="Arial" charset="0"/>
                <a:ea typeface="Arial" charset="0"/>
                <a:cs typeface="Arial" charset="0"/>
              </a:defRPr>
            </a:lvl1pPr>
            <a:lvl2pPr marL="742950" indent="-285750" defTabSz="930275">
              <a:defRPr sz="1600">
                <a:solidFill>
                  <a:schemeClr val="accent1"/>
                </a:solidFill>
                <a:latin typeface="Arial" charset="0"/>
                <a:ea typeface="Arial" charset="0"/>
                <a:cs typeface="Arial" charset="0"/>
              </a:defRPr>
            </a:lvl2pPr>
            <a:lvl3pPr marL="1143000" indent="-228600" defTabSz="930275">
              <a:defRPr sz="1600">
                <a:solidFill>
                  <a:schemeClr val="accent1"/>
                </a:solidFill>
                <a:latin typeface="Arial" charset="0"/>
                <a:ea typeface="Arial" charset="0"/>
                <a:cs typeface="Arial" charset="0"/>
              </a:defRPr>
            </a:lvl3pPr>
            <a:lvl4pPr marL="1600200" indent="-228600" defTabSz="930275">
              <a:defRPr sz="1600">
                <a:solidFill>
                  <a:schemeClr val="accent1"/>
                </a:solidFill>
                <a:latin typeface="Arial" charset="0"/>
                <a:ea typeface="Arial" charset="0"/>
                <a:cs typeface="Arial" charset="0"/>
              </a:defRPr>
            </a:lvl4pPr>
            <a:lvl5pPr marL="2057400" indent="-228600" defTabSz="930275">
              <a:defRPr sz="1600">
                <a:solidFill>
                  <a:schemeClr val="accent1"/>
                </a:solidFill>
                <a:latin typeface="Arial" charset="0"/>
                <a:ea typeface="Arial" charset="0"/>
                <a:cs typeface="Arial" charset="0"/>
              </a:defRPr>
            </a:lvl5pPr>
            <a:lvl6pPr marL="25146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6pPr>
            <a:lvl7pPr marL="29718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7pPr>
            <a:lvl8pPr marL="34290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8pPr>
            <a:lvl9pPr marL="38862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9pPr>
          </a:lstStyle>
          <a:p>
            <a:fld id="{94C403C6-4F82-C14D-B435-7C3812110EEB}" type="slidenum">
              <a:rPr lang="en-US" altLang="en-US" sz="900">
                <a:solidFill>
                  <a:schemeClr val="tx1"/>
                </a:solidFill>
              </a:rPr>
              <a:pPr/>
              <a:t>4</a:t>
            </a:fld>
            <a:endParaRPr lang="en-US" altLang="en-US" sz="900">
              <a:solidFill>
                <a:schemeClr val="tx1"/>
              </a:solidFill>
            </a:endParaRPr>
          </a:p>
        </p:txBody>
      </p:sp>
    </p:spTree>
    <p:extLst>
      <p:ext uri="{BB962C8B-B14F-4D97-AF65-F5344CB8AC3E}">
        <p14:creationId xmlns:p14="http://schemas.microsoft.com/office/powerpoint/2010/main" val="1566688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a:t>
            </a:r>
            <a:r>
              <a:rPr lang="en-GB" baseline="0"/>
              <a:t> takeaway:</a:t>
            </a:r>
          </a:p>
          <a:p>
            <a:r>
              <a:rPr lang="en-GB" baseline="0"/>
              <a:t>Blockchains are good for building trusted, transparent cross-company processes.</a:t>
            </a:r>
            <a:endParaRPr lang="en-GB"/>
          </a:p>
        </p:txBody>
      </p:sp>
      <p:sp>
        <p:nvSpPr>
          <p:cNvPr id="4" name="Slide Number Placeholder 3"/>
          <p:cNvSpPr>
            <a:spLocks noGrp="1"/>
          </p:cNvSpPr>
          <p:nvPr>
            <p:ph type="sldNum" sz="quarter" idx="10"/>
          </p:nvPr>
        </p:nvSpPr>
        <p:spPr/>
        <p:txBody>
          <a:bodyPr/>
          <a:lstStyle/>
          <a:p>
            <a:fld id="{6CA0DCD3-41BD-F14B-A5F9-675081507B23}" type="slidenum">
              <a:rPr lang="en-GB" smtClean="0"/>
              <a:t>5</a:t>
            </a:fld>
            <a:endParaRPr lang="en-GB"/>
          </a:p>
        </p:txBody>
      </p:sp>
    </p:spTree>
    <p:extLst>
      <p:ext uri="{BB962C8B-B14F-4D97-AF65-F5344CB8AC3E}">
        <p14:creationId xmlns:p14="http://schemas.microsoft.com/office/powerpoint/2010/main" val="3266761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buFont typeface="Calibri" pitchFamily="34" charset="0"/>
              <a:buAutoNum type="arabicPeriod"/>
            </a:pPr>
            <a:r>
              <a:rPr lang="en-US"/>
              <a:t>Business never operates in isolation.  They are participants in a business network. </a:t>
            </a:r>
          </a:p>
          <a:p>
            <a:pPr marL="228600" indent="-228600" eaLnBrk="1" hangingPunct="1">
              <a:spcBef>
                <a:spcPct val="0"/>
              </a:spcBef>
              <a:buFont typeface="Calibri" pitchFamily="34" charset="0"/>
              <a:buAutoNum type="arabicPeriod"/>
            </a:pPr>
            <a:endParaRPr lang="en-US"/>
          </a:p>
          <a:p>
            <a:pPr marL="228600" indent="-228600" eaLnBrk="1" hangingPunct="1">
              <a:spcBef>
                <a:spcPct val="0"/>
              </a:spcBef>
              <a:buFont typeface="Calibri" pitchFamily="34" charset="0"/>
              <a:buAutoNum type="arabicPeriod"/>
            </a:pPr>
            <a:r>
              <a:rPr lang="en-US"/>
              <a:t>Business Networks will connect customers, suppliers, banks and regulators and will cross geographical boundaries.</a:t>
            </a:r>
          </a:p>
          <a:p>
            <a:pPr marL="228600" indent="-228600" eaLnBrk="1" hangingPunct="1">
              <a:spcBef>
                <a:spcPct val="0"/>
              </a:spcBef>
              <a:buFont typeface="Calibri" pitchFamily="34" charset="0"/>
              <a:buAutoNum type="arabicPeriod"/>
            </a:pPr>
            <a:endParaRPr lang="en-US"/>
          </a:p>
          <a:p>
            <a:pPr marL="228600" indent="-228600" eaLnBrk="1" hangingPunct="1">
              <a:spcBef>
                <a:spcPct val="0"/>
              </a:spcBef>
              <a:buFont typeface="Calibri" pitchFamily="34" charset="0"/>
              <a:buAutoNum type="arabicPeriod"/>
            </a:pPr>
            <a:r>
              <a:rPr lang="en-US"/>
              <a:t>WEALTH is generated as goods and services move across this network;  this flow is referred to as a MARKET.</a:t>
            </a:r>
          </a:p>
          <a:p>
            <a:pPr marL="228600" indent="-228600" eaLnBrk="1" hangingPunct="1">
              <a:spcBef>
                <a:spcPct val="0"/>
              </a:spcBef>
              <a:buFont typeface="Calibri" pitchFamily="34" charset="0"/>
              <a:buAutoNum type="arabicPeriod"/>
            </a:pPr>
            <a:endParaRPr lang="en-US"/>
          </a:p>
          <a:p>
            <a:pPr marL="228600" indent="-228600" eaLnBrk="1" hangingPunct="1">
              <a:spcBef>
                <a:spcPct val="0"/>
              </a:spcBef>
              <a:buFont typeface="Calibri" pitchFamily="34" charset="0"/>
              <a:buAutoNum type="arabicPeriod"/>
            </a:pPr>
            <a:r>
              <a:rPr lang="en-US"/>
              <a:t>Growth of wealth can be constrained if the network is heavily silo’d or inefficient.</a:t>
            </a:r>
          </a:p>
          <a:p>
            <a:pPr marL="228600" indent="-228600" eaLnBrk="1" hangingPunct="1">
              <a:spcBef>
                <a:spcPct val="0"/>
              </a:spcBef>
            </a:pPr>
            <a:endParaRPr lang="en-US"/>
          </a:p>
          <a:p>
            <a:pPr marL="228600" indent="-228600" eaLnBrk="1" hangingPunct="1">
              <a:spcBef>
                <a:spcPct val="0"/>
              </a:spcBef>
            </a:pPr>
            <a:endParaRPr lang="en-US"/>
          </a:p>
        </p:txBody>
      </p:sp>
    </p:spTree>
    <p:extLst>
      <p:ext uri="{BB962C8B-B14F-4D97-AF65-F5344CB8AC3E}">
        <p14:creationId xmlns:p14="http://schemas.microsoft.com/office/powerpoint/2010/main" val="1101646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6"/>
          <p:cNvSpPr>
            <a:spLocks noGrp="1" noChangeArrowheads="1"/>
          </p:cNvSpPr>
          <p:nvPr>
            <p:ph type="ftr" sz="quarter" idx="4"/>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defTabSz="930275">
              <a:defRPr sz="1600">
                <a:solidFill>
                  <a:schemeClr val="accent1"/>
                </a:solidFill>
                <a:latin typeface="Arial" charset="0"/>
                <a:ea typeface="Arial" charset="0"/>
                <a:cs typeface="Arial" charset="0"/>
              </a:defRPr>
            </a:lvl1pPr>
            <a:lvl2pPr marL="742950" indent="-285750" defTabSz="930275">
              <a:defRPr sz="1600">
                <a:solidFill>
                  <a:schemeClr val="accent1"/>
                </a:solidFill>
                <a:latin typeface="Arial" charset="0"/>
                <a:ea typeface="Arial" charset="0"/>
                <a:cs typeface="Arial" charset="0"/>
              </a:defRPr>
            </a:lvl2pPr>
            <a:lvl3pPr marL="1143000" indent="-228600" defTabSz="930275">
              <a:defRPr sz="1600">
                <a:solidFill>
                  <a:schemeClr val="accent1"/>
                </a:solidFill>
                <a:latin typeface="Arial" charset="0"/>
                <a:ea typeface="Arial" charset="0"/>
                <a:cs typeface="Arial" charset="0"/>
              </a:defRPr>
            </a:lvl3pPr>
            <a:lvl4pPr marL="1600200" indent="-228600" defTabSz="930275">
              <a:defRPr sz="1600">
                <a:solidFill>
                  <a:schemeClr val="accent1"/>
                </a:solidFill>
                <a:latin typeface="Arial" charset="0"/>
                <a:ea typeface="Arial" charset="0"/>
                <a:cs typeface="Arial" charset="0"/>
              </a:defRPr>
            </a:lvl4pPr>
            <a:lvl5pPr marL="2057400" indent="-228600" defTabSz="930275">
              <a:defRPr sz="1600">
                <a:solidFill>
                  <a:schemeClr val="accent1"/>
                </a:solidFill>
                <a:latin typeface="Arial" charset="0"/>
                <a:ea typeface="Arial" charset="0"/>
                <a:cs typeface="Arial" charset="0"/>
              </a:defRPr>
            </a:lvl5pPr>
            <a:lvl6pPr marL="25146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6pPr>
            <a:lvl7pPr marL="29718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7pPr>
            <a:lvl8pPr marL="34290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8pPr>
            <a:lvl9pPr marL="3886200" indent="-228600" defTabSz="930275" eaLnBrk="0" fontAlgn="base" hangingPunct="0">
              <a:spcBef>
                <a:spcPct val="0"/>
              </a:spcBef>
              <a:spcAft>
                <a:spcPct val="0"/>
              </a:spcAft>
              <a:defRPr sz="1600">
                <a:solidFill>
                  <a:schemeClr val="accent1"/>
                </a:solidFill>
                <a:latin typeface="Arial" charset="0"/>
                <a:ea typeface="Arial" charset="0"/>
                <a:cs typeface="Arial" charset="0"/>
              </a:defRPr>
            </a:lvl9pPr>
          </a:lstStyle>
          <a:p>
            <a:pPr>
              <a:defRPr/>
            </a:pPr>
            <a:r>
              <a:rPr lang="en-US" altLang="en-US" sz="900">
                <a:solidFill>
                  <a:schemeClr val="tx1"/>
                </a:solidFill>
              </a:rPr>
              <a:t>IBM Confidential</a:t>
            </a:r>
          </a:p>
        </p:txBody>
      </p:sp>
      <p:sp>
        <p:nvSpPr>
          <p:cNvPr id="10243" name="Rectangle 2"/>
          <p:cNvSpPr>
            <a:spLocks noGrp="1" noRot="1" noChangeAspect="1" noChangeArrowheads="1" noTextEdit="1"/>
          </p:cNvSpPr>
          <p:nvPr>
            <p:ph type="sldImg"/>
          </p:nvPr>
        </p:nvSpPr>
        <p:spPr>
          <a:xfrm>
            <a:off x="404813" y="695325"/>
            <a:ext cx="6178550" cy="3476625"/>
          </a:xfrm>
          <a:ln/>
        </p:spPr>
      </p:sp>
      <p:sp>
        <p:nvSpPr>
          <p:cNvPr id="10244" name="Rectangle 3"/>
          <p:cNvSpPr>
            <a:spLocks noGrp="1" noChangeArrowheads="1"/>
          </p:cNvSpPr>
          <p:nvPr>
            <p:ph type="body" idx="1"/>
          </p:nvPr>
        </p:nvSpPr>
        <p:spPr>
          <a:xfrm>
            <a:off x="698500" y="4403725"/>
            <a:ext cx="5588000" cy="41719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885" tIns="46442" rIns="92885" bIns="46442"/>
          <a:lstStyle/>
          <a:p>
            <a:pPr eaLnBrk="1" hangingPunct="1">
              <a:lnSpc>
                <a:spcPct val="80000"/>
              </a:lnSpc>
            </a:pPr>
            <a:r>
              <a:rPr lang="en-US" altLang="en-US" sz="800">
                <a:solidFill>
                  <a:schemeClr val="tx2"/>
                </a:solidFill>
                <a:latin typeface="Arial" charset="0"/>
                <a:cs typeface="Arial" charset="0"/>
              </a:rPr>
              <a:t>Customer expectations are continuing to rise.  No longer do we have </a:t>
            </a:r>
            <a:r>
              <a:rPr lang="ja-JP" altLang="en-US" sz="800">
                <a:solidFill>
                  <a:schemeClr val="tx2"/>
                </a:solidFill>
                <a:latin typeface="Arial" charset="0"/>
                <a:ea typeface="MS PGothic" charset="-128"/>
              </a:rPr>
              <a:t>“</a:t>
            </a:r>
            <a:r>
              <a:rPr lang="en-US" altLang="ja-JP" sz="800">
                <a:solidFill>
                  <a:schemeClr val="tx2"/>
                </a:solidFill>
                <a:latin typeface="Arial" charset="0"/>
                <a:ea typeface="MS PGothic" charset="-128"/>
              </a:rPr>
              <a:t>rate payers</a:t>
            </a:r>
            <a:r>
              <a:rPr lang="ja-JP" altLang="en-US" sz="800">
                <a:solidFill>
                  <a:schemeClr val="tx2"/>
                </a:solidFill>
                <a:latin typeface="Arial" charset="0"/>
                <a:ea typeface="MS PGothic" charset="-128"/>
              </a:rPr>
              <a:t>”</a:t>
            </a:r>
            <a:r>
              <a:rPr lang="en-US" altLang="ja-JP" sz="800">
                <a:solidFill>
                  <a:schemeClr val="tx2"/>
                </a:solidFill>
                <a:latin typeface="Arial" charset="0"/>
                <a:ea typeface="MS PGothic" charset="-128"/>
              </a:rPr>
              <a:t>, but we have </a:t>
            </a:r>
            <a:r>
              <a:rPr lang="ja-JP" altLang="en-US" sz="800">
                <a:solidFill>
                  <a:schemeClr val="tx2"/>
                </a:solidFill>
                <a:latin typeface="Arial" charset="0"/>
                <a:ea typeface="MS PGothic" charset="-128"/>
              </a:rPr>
              <a:t>“</a:t>
            </a:r>
            <a:r>
              <a:rPr lang="en-US" altLang="ja-JP" sz="800">
                <a:solidFill>
                  <a:schemeClr val="tx2"/>
                </a:solidFill>
                <a:latin typeface="Arial" charset="0"/>
                <a:ea typeface="MS PGothic" charset="-128"/>
              </a:rPr>
              <a:t>customers and consumers</a:t>
            </a:r>
            <a:r>
              <a:rPr lang="ja-JP" altLang="en-US" sz="800">
                <a:solidFill>
                  <a:schemeClr val="tx2"/>
                </a:solidFill>
                <a:latin typeface="Arial" charset="0"/>
                <a:ea typeface="MS PGothic" charset="-128"/>
              </a:rPr>
              <a:t>”</a:t>
            </a:r>
            <a:r>
              <a:rPr lang="en-US" altLang="ja-JP" sz="800">
                <a:solidFill>
                  <a:schemeClr val="tx2"/>
                </a:solidFill>
                <a:latin typeface="Arial" charset="0"/>
                <a:ea typeface="MS PGothic" charset="-128"/>
              </a:rPr>
              <a:t> who are exhibiting significant interest in controlling their own energy use and they want products and services that will help them do it.</a:t>
            </a:r>
          </a:p>
          <a:p>
            <a:pPr eaLnBrk="1" hangingPunct="1">
              <a:lnSpc>
                <a:spcPct val="80000"/>
              </a:lnSpc>
              <a:spcBef>
                <a:spcPct val="50000"/>
              </a:spcBef>
              <a:buFontTx/>
              <a:buChar char="•"/>
            </a:pPr>
            <a:r>
              <a:rPr lang="en-GB" altLang="ko-KR" sz="800">
                <a:latin typeface="Arial" charset="0"/>
                <a:ea typeface="Gulim" charset="-127"/>
              </a:rPr>
              <a:t>Cost remains </a:t>
            </a:r>
            <a:r>
              <a:rPr lang="en-US" altLang="ko-KR" sz="800">
                <a:latin typeface="Arial" charset="0"/>
                <a:ea typeface="Gulim" charset="-127"/>
              </a:rPr>
              <a:t>the most powerful motivator for desire for control and willingness to change behavior, more so than environmental concerns, </a:t>
            </a:r>
            <a:r>
              <a:rPr lang="en-GB" altLang="ko-KR" sz="800">
                <a:latin typeface="Arial" charset="0"/>
                <a:ea typeface="Gulim" charset="-127"/>
              </a:rPr>
              <a:t>reliability concerns, or other factors</a:t>
            </a:r>
          </a:p>
          <a:p>
            <a:pPr eaLnBrk="1" hangingPunct="1">
              <a:lnSpc>
                <a:spcPct val="80000"/>
              </a:lnSpc>
              <a:spcBef>
                <a:spcPct val="50000"/>
              </a:spcBef>
              <a:buFontTx/>
              <a:buChar char="•"/>
            </a:pPr>
            <a:r>
              <a:rPr lang="en-US" altLang="ko-KR" sz="800">
                <a:latin typeface="Arial" charset="0"/>
                <a:ea typeface="Gulim" charset="-127"/>
              </a:rPr>
              <a:t>Consumers are having a hard time getting (or understanding) information about the availability of new utility programs</a:t>
            </a:r>
          </a:p>
          <a:p>
            <a:pPr lvl="1" eaLnBrk="1" hangingPunct="1">
              <a:lnSpc>
                <a:spcPct val="80000"/>
              </a:lnSpc>
              <a:spcBef>
                <a:spcPct val="50000"/>
              </a:spcBef>
              <a:buFontTx/>
              <a:buChar char="•"/>
            </a:pPr>
            <a:r>
              <a:rPr lang="en-US" altLang="ko-KR" sz="800">
                <a:latin typeface="Arial" charset="0"/>
                <a:ea typeface="Gulim" charset="-127"/>
              </a:rPr>
              <a:t>In particular, provider messages are not reaching the youngest consumers in our survey (18-34 years old)</a:t>
            </a:r>
          </a:p>
          <a:p>
            <a:pPr lvl="1" eaLnBrk="1" hangingPunct="1">
              <a:lnSpc>
                <a:spcPct val="80000"/>
              </a:lnSpc>
              <a:spcBef>
                <a:spcPct val="50000"/>
              </a:spcBef>
              <a:buFontTx/>
              <a:buChar char="•"/>
            </a:pPr>
            <a:r>
              <a:rPr lang="en-US" altLang="ko-KR" sz="800">
                <a:latin typeface="Arial" charset="0"/>
                <a:ea typeface="Gulim" charset="-127"/>
              </a:rPr>
              <a:t>This is an emerging issue of concern, because this age bracket is most likely to be willing to pay for new products and services</a:t>
            </a:r>
          </a:p>
          <a:p>
            <a:pPr eaLnBrk="1" hangingPunct="1">
              <a:lnSpc>
                <a:spcPct val="80000"/>
              </a:lnSpc>
              <a:spcBef>
                <a:spcPct val="50000"/>
              </a:spcBef>
              <a:buFontTx/>
              <a:buChar char="•"/>
            </a:pPr>
            <a:r>
              <a:rPr lang="en-US" altLang="ja-JP" sz="800">
                <a:latin typeface="Arial" charset="0"/>
                <a:ea typeface="MS PGothic" charset="-128"/>
              </a:rPr>
              <a:t>Major generational shifts in how information is obtained imply that multiple communication channels across a broad array of old and new media are needed to be effective </a:t>
            </a:r>
          </a:p>
          <a:p>
            <a:pPr eaLnBrk="1" hangingPunct="1">
              <a:lnSpc>
                <a:spcPct val="80000"/>
              </a:lnSpc>
              <a:spcBef>
                <a:spcPct val="50000"/>
              </a:spcBef>
              <a:buFontTx/>
              <a:buChar char="•"/>
            </a:pPr>
            <a:r>
              <a:rPr lang="en-US" altLang="ko-KR" sz="800">
                <a:latin typeface="Arial" charset="0"/>
                <a:ea typeface="Gulim" charset="-127"/>
              </a:rPr>
              <a:t>Over 90% of respondents indicated that they would like to see a smart meter and tools for managing their usage available at their home, with 55-60% of those respondents willing to pay a fixed or monthly fee for that capability</a:t>
            </a:r>
            <a:br>
              <a:rPr lang="en-US" altLang="en-US" sz="800" b="0">
                <a:latin typeface="Arial" charset="0"/>
                <a:cs typeface="Arial" charset="0"/>
              </a:rPr>
            </a:br>
            <a:endParaRPr lang="en-US" altLang="en-US" sz="800" b="0">
              <a:latin typeface="Arial" charset="0"/>
              <a:cs typeface="Arial" charset="0"/>
            </a:endParaRPr>
          </a:p>
          <a:p>
            <a:pPr eaLnBrk="1" hangingPunct="1">
              <a:lnSpc>
                <a:spcPct val="80000"/>
              </a:lnSpc>
              <a:spcBef>
                <a:spcPct val="50000"/>
              </a:spcBef>
            </a:pPr>
            <a:r>
              <a:rPr lang="en-US" altLang="en-US" sz="800" b="0">
                <a:latin typeface="Arial" charset="0"/>
                <a:cs typeface="Arial" charset="0"/>
              </a:rPr>
              <a:t>Source:  	</a:t>
            </a:r>
            <a:r>
              <a:rPr lang="ja-JP" altLang="en-US" sz="800" b="0">
                <a:latin typeface="Arial" charset="0"/>
                <a:ea typeface="MS PGothic" charset="-128"/>
              </a:rPr>
              <a:t>“</a:t>
            </a:r>
            <a:r>
              <a:rPr lang="en-US" altLang="ja-JP" sz="800" b="0">
                <a:latin typeface="Arial" charset="0"/>
                <a:ea typeface="MS PGothic" charset="-128"/>
              </a:rPr>
              <a:t>Plugging in the Consumer</a:t>
            </a:r>
            <a:r>
              <a:rPr lang="ja-JP" altLang="en-US" sz="800" b="0">
                <a:latin typeface="Arial" charset="0"/>
                <a:ea typeface="MS PGothic" charset="-128"/>
              </a:rPr>
              <a:t>”</a:t>
            </a:r>
            <a:r>
              <a:rPr lang="en-US" altLang="ja-JP" sz="800" b="0">
                <a:latin typeface="Arial" charset="0"/>
                <a:ea typeface="MS PGothic" charset="-128"/>
              </a:rPr>
              <a:t> IBM IBV study, 2007</a:t>
            </a:r>
          </a:p>
          <a:p>
            <a:pPr eaLnBrk="1" hangingPunct="1">
              <a:lnSpc>
                <a:spcPct val="80000"/>
              </a:lnSpc>
            </a:pPr>
            <a:r>
              <a:rPr lang="en-US" altLang="en-US" sz="800">
                <a:latin typeface="Arial" charset="0"/>
                <a:cs typeface="Arial" charset="0"/>
              </a:rPr>
              <a:t>https://w3-03.sso.ibm.com/services/practitionerportal/ppServlets/displayDocument.wss?syntheticKey=Q957980N08460S49</a:t>
            </a:r>
          </a:p>
          <a:p>
            <a:pPr eaLnBrk="1" hangingPunct="1">
              <a:lnSpc>
                <a:spcPct val="80000"/>
              </a:lnSpc>
            </a:pPr>
            <a:r>
              <a:rPr lang="en-US" altLang="en-US" sz="800" b="0">
                <a:latin typeface="Arial" charset="0"/>
                <a:cs typeface="Arial" charset="0"/>
              </a:rPr>
              <a:t>Source:	</a:t>
            </a:r>
            <a:r>
              <a:rPr lang="ja-JP" altLang="en-US" sz="800" b="0">
                <a:latin typeface="Arial" charset="0"/>
                <a:ea typeface="MS PGothic" charset="-128"/>
              </a:rPr>
              <a:t>“</a:t>
            </a:r>
            <a:r>
              <a:rPr lang="en-US" altLang="ja-JP" sz="800" b="0">
                <a:latin typeface="Arial" charset="0"/>
                <a:ea typeface="MS PGothic" charset="-128"/>
              </a:rPr>
              <a:t>Lighting the Way</a:t>
            </a:r>
            <a:r>
              <a:rPr lang="ja-JP" altLang="en-US" sz="800" b="0">
                <a:latin typeface="Arial" charset="0"/>
                <a:ea typeface="MS PGothic" charset="-128"/>
              </a:rPr>
              <a:t>”</a:t>
            </a:r>
            <a:r>
              <a:rPr lang="en-US" altLang="ja-JP" sz="800" b="0">
                <a:latin typeface="Arial" charset="0"/>
                <a:ea typeface="MS PGothic" charset="-128"/>
              </a:rPr>
              <a:t> IBM IBV paper, 2009</a:t>
            </a:r>
          </a:p>
          <a:p>
            <a:pPr eaLnBrk="1" hangingPunct="1">
              <a:lnSpc>
                <a:spcPct val="80000"/>
              </a:lnSpc>
            </a:pPr>
            <a:endParaRPr lang="en-US" altLang="en-US" sz="800" u="sng">
              <a:latin typeface="Arial" charset="0"/>
              <a:cs typeface="Arial" charset="0"/>
            </a:endParaRPr>
          </a:p>
          <a:p>
            <a:pPr eaLnBrk="1" hangingPunct="1">
              <a:lnSpc>
                <a:spcPct val="80000"/>
              </a:lnSpc>
            </a:pPr>
            <a:r>
              <a:rPr lang="en-US" altLang="en-US" sz="800">
                <a:latin typeface="Arial" charset="0"/>
                <a:cs typeface="Arial" charset="0"/>
              </a:rPr>
              <a:t>Additionally, new Entrants are entering the market to meet these expectations:</a:t>
            </a:r>
          </a:p>
          <a:p>
            <a:pPr eaLnBrk="1" hangingPunct="1">
              <a:lnSpc>
                <a:spcPct val="80000"/>
              </a:lnSpc>
              <a:buFontTx/>
              <a:buChar char="•"/>
            </a:pPr>
            <a:r>
              <a:rPr lang="en-US" altLang="en-US" sz="800">
                <a:latin typeface="Arial" charset="0"/>
                <a:cs typeface="Arial" charset="0"/>
              </a:rPr>
              <a:t>Cleantech – supporting and encouraging new entrants with </a:t>
            </a:r>
            <a:r>
              <a:rPr lang="ja-JP" altLang="en-US" sz="800">
                <a:latin typeface="Arial" charset="0"/>
                <a:ea typeface="MS PGothic" charset="-128"/>
              </a:rPr>
              <a:t>“</a:t>
            </a:r>
            <a:r>
              <a:rPr lang="en-US" altLang="ja-JP" sz="800">
                <a:latin typeface="Arial" charset="0"/>
                <a:ea typeface="MS PGothic" charset="-128"/>
              </a:rPr>
              <a:t>green technologies</a:t>
            </a:r>
            <a:r>
              <a:rPr lang="ja-JP" altLang="en-US" sz="800">
                <a:latin typeface="Arial" charset="0"/>
                <a:ea typeface="MS PGothic" charset="-128"/>
              </a:rPr>
              <a:t>”</a:t>
            </a:r>
            <a:r>
              <a:rPr lang="en-US" altLang="ja-JP" sz="800">
                <a:latin typeface="Arial" charset="0"/>
                <a:ea typeface="MS PGothic" charset="-128"/>
              </a:rPr>
              <a:t> – provided venture investment of $7.8 billion in 2010, up by 28% compared to 2009</a:t>
            </a:r>
          </a:p>
          <a:p>
            <a:pPr eaLnBrk="1" hangingPunct="1">
              <a:lnSpc>
                <a:spcPct val="80000"/>
              </a:lnSpc>
              <a:buFontTx/>
              <a:buChar char="•"/>
            </a:pPr>
            <a:r>
              <a:rPr lang="en-US" altLang="en-US" sz="800">
                <a:latin typeface="Arial" charset="0"/>
                <a:cs typeface="Arial" charset="0"/>
              </a:rPr>
              <a:t>Apple, Microsoft and Google – each beginning to offer energy management products and make renewable investments – have a combined market capitalization exceeding $700 Billion</a:t>
            </a:r>
          </a:p>
          <a:p>
            <a:pPr eaLnBrk="1" hangingPunct="1">
              <a:lnSpc>
                <a:spcPct val="80000"/>
              </a:lnSpc>
              <a:spcBef>
                <a:spcPct val="0"/>
              </a:spcBef>
              <a:buFontTx/>
              <a:buChar char="•"/>
            </a:pPr>
            <a:r>
              <a:rPr lang="en-US" altLang="en-US" sz="800">
                <a:latin typeface="Arial" charset="0"/>
                <a:cs typeface="Arial" charset="0"/>
              </a:rPr>
              <a:t>Also, see chart in Appendix related to the broadband market comparing infrastructure investors to services investors.  This situation is not unlike the transformation we</a:t>
            </a:r>
            <a:r>
              <a:rPr lang="ja-JP" altLang="en-US" sz="800">
                <a:latin typeface="Arial" charset="0"/>
                <a:ea typeface="MS PGothic" charset="-128"/>
              </a:rPr>
              <a:t>’</a:t>
            </a:r>
            <a:r>
              <a:rPr lang="en-US" altLang="ja-JP" sz="800">
                <a:latin typeface="Arial" charset="0"/>
                <a:ea typeface="MS PGothic" charset="-128"/>
              </a:rPr>
              <a:t>ve seen in the telecommunications business over the last 20-25 years.  The winners are not necessarily the incumbents nor the participants that built and own the infrastructure.</a:t>
            </a:r>
          </a:p>
          <a:p>
            <a:pPr eaLnBrk="1" hangingPunct="1">
              <a:lnSpc>
                <a:spcPct val="80000"/>
              </a:lnSpc>
              <a:spcBef>
                <a:spcPct val="0"/>
              </a:spcBef>
            </a:pPr>
            <a:r>
              <a:rPr lang="en-US" altLang="en-US" sz="800" b="0">
                <a:latin typeface="Arial" charset="0"/>
                <a:cs typeface="Arial" charset="0"/>
              </a:rPr>
              <a:t>Source:  Yahoo Finance </a:t>
            </a:r>
            <a:r>
              <a:rPr lang="en-US" altLang="en-US" sz="800">
                <a:latin typeface="Arial" charset="0"/>
                <a:cs typeface="Arial" charset="0"/>
              </a:rPr>
              <a:t>(first two bullets) </a:t>
            </a:r>
            <a:r>
              <a:rPr lang="en-US" altLang="en-US" sz="800" b="0">
                <a:latin typeface="Arial" charset="0"/>
                <a:cs typeface="Arial" charset="0"/>
              </a:rPr>
              <a:t>and </a:t>
            </a:r>
            <a:r>
              <a:rPr lang="ja-JP" altLang="en-US" sz="800" b="0">
                <a:latin typeface="Arial" charset="0"/>
                <a:ea typeface="MS PGothic" charset="-128"/>
              </a:rPr>
              <a:t>“</a:t>
            </a:r>
            <a:r>
              <a:rPr lang="en-US" altLang="ja-JP" sz="800" b="0">
                <a:latin typeface="Arial" charset="0"/>
                <a:ea typeface="MS PGothic" charset="-128"/>
              </a:rPr>
              <a:t>Smart Metering &amp; Beyond</a:t>
            </a:r>
            <a:r>
              <a:rPr lang="ja-JP" altLang="en-US" sz="800" b="0">
                <a:latin typeface="Arial" charset="0"/>
                <a:ea typeface="MS PGothic" charset="-128"/>
              </a:rPr>
              <a:t>”</a:t>
            </a:r>
            <a:r>
              <a:rPr lang="en-US" altLang="ja-JP" sz="800" b="0">
                <a:latin typeface="Arial" charset="0"/>
                <a:ea typeface="MS PGothic" charset="-128"/>
              </a:rPr>
              <a:t> IBM E&amp;U Academy call 1/28/2011.</a:t>
            </a:r>
          </a:p>
          <a:p>
            <a:pPr eaLnBrk="1" hangingPunct="1">
              <a:lnSpc>
                <a:spcPct val="80000"/>
              </a:lnSpc>
            </a:pPr>
            <a:endParaRPr lang="en-US" altLang="en-US" sz="800">
              <a:latin typeface="Arial" charset="0"/>
              <a:cs typeface="Arial" charset="0"/>
            </a:endParaRPr>
          </a:p>
          <a:p>
            <a:pPr eaLnBrk="1" hangingPunct="1">
              <a:lnSpc>
                <a:spcPct val="80000"/>
              </a:lnSpc>
            </a:pPr>
            <a:r>
              <a:rPr lang="en-US" altLang="en-US" sz="800">
                <a:latin typeface="Arial" charset="0"/>
                <a:cs typeface="Arial" charset="0"/>
              </a:rPr>
              <a:t>The utility that understands that this consumer evolution intersects the utility’s objectives to manage and optimize the grid as efficiently as possible is the utility that understands the “Smarter Energy” business model:  </a:t>
            </a:r>
          </a:p>
          <a:p>
            <a:pPr eaLnBrk="1" hangingPunct="1">
              <a:lnSpc>
                <a:spcPct val="80000"/>
              </a:lnSpc>
              <a:buFontTx/>
              <a:buChar char="•"/>
            </a:pPr>
            <a:r>
              <a:rPr lang="en-US" altLang="en-US" sz="800">
                <a:latin typeface="Arial" charset="0"/>
                <a:cs typeface="Arial" charset="0"/>
              </a:rPr>
              <a:t>They see  visibility across the network as the key to managing in real-time and garnering better reliability and safety.  </a:t>
            </a:r>
          </a:p>
          <a:p>
            <a:pPr eaLnBrk="1" hangingPunct="1">
              <a:lnSpc>
                <a:spcPct val="80000"/>
              </a:lnSpc>
              <a:buFontTx/>
              <a:buChar char="•"/>
            </a:pPr>
            <a:r>
              <a:rPr lang="en-US" altLang="en-US" sz="800">
                <a:latin typeface="Arial" charset="0"/>
                <a:cs typeface="Arial" charset="0"/>
              </a:rPr>
              <a:t>They know that the knowledge others in the value chain are seeking will help them too.  </a:t>
            </a:r>
          </a:p>
          <a:p>
            <a:pPr eaLnBrk="1" hangingPunct="1">
              <a:lnSpc>
                <a:spcPct val="80000"/>
              </a:lnSpc>
              <a:buFontTx/>
              <a:buChar char="•"/>
            </a:pPr>
            <a:r>
              <a:rPr lang="en-US" altLang="en-US" sz="800">
                <a:latin typeface="Arial" charset="0"/>
                <a:cs typeface="Arial" charset="0"/>
              </a:rPr>
              <a:t>And, finally, they understand that by taking intelligent action, they will achieve their own objectives while enhancing their corporate citizenship by addressing these desired societal outcomes. </a:t>
            </a:r>
          </a:p>
        </p:txBody>
      </p:sp>
    </p:spTree>
    <p:extLst>
      <p:ext uri="{BB962C8B-B14F-4D97-AF65-F5344CB8AC3E}">
        <p14:creationId xmlns:p14="http://schemas.microsoft.com/office/powerpoint/2010/main" val="327630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631024-0AD3-4102-BCD3-3F6F1705358A}"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50634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631024-0AD3-4102-BCD3-3F6F1705358A}"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193889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631024-0AD3-4102-BCD3-3F6F1705358A}"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141452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C93588-7122-344C-B9BA-CDC6FEFC3C3B}" type="slidenum">
              <a:rPr lang="en-US" smtClean="0"/>
              <a:t>15</a:t>
            </a:fld>
            <a:endParaRPr lang="en-US"/>
          </a:p>
        </p:txBody>
      </p:sp>
    </p:spTree>
    <p:extLst>
      <p:ext uri="{BB962C8B-B14F-4D97-AF65-F5344CB8AC3E}">
        <p14:creationId xmlns:p14="http://schemas.microsoft.com/office/powerpoint/2010/main" val="556965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0FDDEA-ADCC-AE4C-A94E-1E3AB4C4CF7B}" type="datetimeFigureOut">
              <a:rPr lang="en-US" smtClean="0"/>
              <a:t>8/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831528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0FDDEA-ADCC-AE4C-A94E-1E3AB4C4CF7B}" type="datetimeFigureOut">
              <a:rPr lang="en-US" smtClean="0"/>
              <a:t>8/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404273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0FDDEA-ADCC-AE4C-A94E-1E3AB4C4CF7B}" type="datetimeFigureOut">
              <a:rPr lang="en-US" smtClean="0"/>
              <a:t>8/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21299053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4" name="Rectangle 3"/>
          <p:cNvSpPr/>
          <p:nvPr userDrawn="1"/>
        </p:nvSpPr>
        <p:spPr>
          <a:xfrm>
            <a:off x="0" y="2360613"/>
            <a:ext cx="12192000" cy="4497387"/>
          </a:xfrm>
          <a:prstGeom prst="rect">
            <a:avLst/>
          </a:prstGeom>
          <a:solidFill>
            <a:srgbClr val="094E9E"/>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anchor="ctr"/>
          <a:lstStyle>
            <a:lvl1pPr>
              <a:defRPr sz="1600">
                <a:solidFill>
                  <a:schemeClr val="accent1"/>
                </a:solidFill>
                <a:latin typeface="Arial" charset="0"/>
                <a:ea typeface="Arial" charset="0"/>
                <a:cs typeface="Arial" charset="0"/>
              </a:defRPr>
            </a:lvl1pPr>
            <a:lvl2pPr marL="742950" indent="-285750">
              <a:defRPr sz="1600">
                <a:solidFill>
                  <a:schemeClr val="accent1"/>
                </a:solidFill>
                <a:latin typeface="Arial" charset="0"/>
                <a:ea typeface="Arial" charset="0"/>
                <a:cs typeface="Arial" charset="0"/>
              </a:defRPr>
            </a:lvl2pPr>
            <a:lvl3pPr marL="1143000" indent="-228600">
              <a:defRPr sz="1600">
                <a:solidFill>
                  <a:schemeClr val="accent1"/>
                </a:solidFill>
                <a:latin typeface="Arial" charset="0"/>
                <a:ea typeface="Arial" charset="0"/>
                <a:cs typeface="Arial" charset="0"/>
              </a:defRPr>
            </a:lvl3pPr>
            <a:lvl4pPr marL="1600200" indent="-228600">
              <a:defRPr sz="1600">
                <a:solidFill>
                  <a:schemeClr val="accent1"/>
                </a:solidFill>
                <a:latin typeface="Arial" charset="0"/>
                <a:ea typeface="Arial" charset="0"/>
                <a:cs typeface="Arial" charset="0"/>
              </a:defRPr>
            </a:lvl4pPr>
            <a:lvl5pPr marL="2057400" indent="-228600">
              <a:defRPr sz="1600">
                <a:solidFill>
                  <a:schemeClr val="accent1"/>
                </a:solidFill>
                <a:latin typeface="Arial" charset="0"/>
                <a:ea typeface="Arial" charset="0"/>
                <a:cs typeface="Arial" charset="0"/>
              </a:defRPr>
            </a:lvl5pPr>
            <a:lvl6pPr marL="2514600" indent="-228600" eaLnBrk="0" fontAlgn="base" hangingPunct="0">
              <a:spcBef>
                <a:spcPct val="0"/>
              </a:spcBef>
              <a:spcAft>
                <a:spcPct val="0"/>
              </a:spcAft>
              <a:defRPr sz="1600">
                <a:solidFill>
                  <a:schemeClr val="accent1"/>
                </a:solidFill>
                <a:latin typeface="Arial" charset="0"/>
                <a:ea typeface="Arial" charset="0"/>
                <a:cs typeface="Arial" charset="0"/>
              </a:defRPr>
            </a:lvl6pPr>
            <a:lvl7pPr marL="2971800" indent="-228600" eaLnBrk="0" fontAlgn="base" hangingPunct="0">
              <a:spcBef>
                <a:spcPct val="0"/>
              </a:spcBef>
              <a:spcAft>
                <a:spcPct val="0"/>
              </a:spcAft>
              <a:defRPr sz="1600">
                <a:solidFill>
                  <a:schemeClr val="accent1"/>
                </a:solidFill>
                <a:latin typeface="Arial" charset="0"/>
                <a:ea typeface="Arial" charset="0"/>
                <a:cs typeface="Arial" charset="0"/>
              </a:defRPr>
            </a:lvl7pPr>
            <a:lvl8pPr marL="3429000" indent="-228600" eaLnBrk="0" fontAlgn="base" hangingPunct="0">
              <a:spcBef>
                <a:spcPct val="0"/>
              </a:spcBef>
              <a:spcAft>
                <a:spcPct val="0"/>
              </a:spcAft>
              <a:defRPr sz="1600">
                <a:solidFill>
                  <a:schemeClr val="accent1"/>
                </a:solidFill>
                <a:latin typeface="Arial" charset="0"/>
                <a:ea typeface="Arial" charset="0"/>
                <a:cs typeface="Arial" charset="0"/>
              </a:defRPr>
            </a:lvl8pPr>
            <a:lvl9pPr marL="3886200" indent="-228600" eaLnBrk="0" fontAlgn="base" hangingPunct="0">
              <a:spcBef>
                <a:spcPct val="0"/>
              </a:spcBef>
              <a:spcAft>
                <a:spcPct val="0"/>
              </a:spcAft>
              <a:defRPr sz="1600">
                <a:solidFill>
                  <a:schemeClr val="accent1"/>
                </a:solidFill>
                <a:latin typeface="Arial" charset="0"/>
                <a:ea typeface="Arial" charset="0"/>
                <a:cs typeface="Arial" charset="0"/>
              </a:defRPr>
            </a:lvl9pPr>
          </a:lstStyle>
          <a:p>
            <a:pPr algn="ctr"/>
            <a:endParaRPr lang="en-US" altLang="en-US" sz="1200">
              <a:solidFill>
                <a:srgbClr val="FFFFFF"/>
              </a:solidFill>
            </a:endParaRPr>
          </a:p>
        </p:txBody>
      </p:sp>
      <p:sp>
        <p:nvSpPr>
          <p:cNvPr id="2" name="Title 1"/>
          <p:cNvSpPr>
            <a:spLocks noGrp="1"/>
          </p:cNvSpPr>
          <p:nvPr>
            <p:ph type="ctrTitle"/>
          </p:nvPr>
        </p:nvSpPr>
        <p:spPr>
          <a:xfrm>
            <a:off x="914400" y="1225611"/>
            <a:ext cx="10363200" cy="1468967"/>
          </a:xfrm>
          <a:prstGeom prst="rect">
            <a:avLst/>
          </a:prstGeom>
        </p:spPr>
        <p:txBody>
          <a:bodyPr>
            <a:noAutofit/>
          </a:bodyPr>
          <a:lstStyle>
            <a:lvl1pPr>
              <a:defRPr sz="4500">
                <a:solidFill>
                  <a:srgbClr val="094E9E"/>
                </a:solidFill>
                <a:latin typeface="Lubalin Extra Light for IBM"/>
                <a:cs typeface="Lubalin Extra Light for IBM"/>
              </a:defRPr>
            </a:lvl1pPr>
          </a:lstStyle>
          <a:p>
            <a:r>
              <a:rPr lang="en-US" dirty="0"/>
              <a:t>Click to edit</a:t>
            </a:r>
          </a:p>
        </p:txBody>
      </p:sp>
      <p:sp>
        <p:nvSpPr>
          <p:cNvPr id="5" name="Subtitle 2"/>
          <p:cNvSpPr>
            <a:spLocks noGrp="1"/>
          </p:cNvSpPr>
          <p:nvPr>
            <p:ph type="subTitle" idx="1"/>
          </p:nvPr>
        </p:nvSpPr>
        <p:spPr>
          <a:xfrm>
            <a:off x="2153136" y="2987133"/>
            <a:ext cx="7879867" cy="1752600"/>
          </a:xfrm>
        </p:spPr>
        <p:txBody>
          <a:bodyPr>
            <a:noAutofit/>
          </a:bodyPr>
          <a:lstStyle>
            <a:lvl1pPr marL="0" indent="0" algn="l">
              <a:buNone/>
              <a:defRPr sz="1313" baseline="0">
                <a:solidFill>
                  <a:srgbClr val="FFFFFF"/>
                </a:solidFill>
              </a:defRPr>
            </a:lvl1pPr>
            <a:lvl2pPr marL="342891" indent="0" algn="ctr">
              <a:buNone/>
              <a:defRPr>
                <a:solidFill>
                  <a:schemeClr val="tx1">
                    <a:tint val="75000"/>
                  </a:schemeClr>
                </a:solidFill>
              </a:defRPr>
            </a:lvl2pPr>
            <a:lvl3pPr marL="685783" indent="0" algn="ctr">
              <a:buNone/>
              <a:defRPr>
                <a:solidFill>
                  <a:schemeClr val="tx1">
                    <a:tint val="75000"/>
                  </a:schemeClr>
                </a:solidFill>
              </a:defRPr>
            </a:lvl3pPr>
            <a:lvl4pPr marL="1028674"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9" indent="0" algn="ctr">
              <a:buNone/>
              <a:defRPr>
                <a:solidFill>
                  <a:schemeClr val="tx1">
                    <a:tint val="75000"/>
                  </a:schemeClr>
                </a:solidFill>
              </a:defRPr>
            </a:lvl7pPr>
            <a:lvl8pPr marL="2400240" indent="0" algn="ctr">
              <a:buNone/>
              <a:defRPr>
                <a:solidFill>
                  <a:schemeClr val="tx1">
                    <a:tint val="75000"/>
                  </a:schemeClr>
                </a:solidFill>
              </a:defRPr>
            </a:lvl8pPr>
            <a:lvl9pPr marL="2743131"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6532485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201084" y="6726238"/>
            <a:ext cx="163406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a:defRPr/>
            </a:pPr>
            <a:r>
              <a:rPr lang="en-US" altLang="en-US" sz="700" dirty="0">
                <a:solidFill>
                  <a:srgbClr val="5A5A5A"/>
                </a:solidFill>
                <a:ea typeface="ＭＳ Ｐゴシック" charset="-128"/>
              </a:rPr>
              <a:t>© </a:t>
            </a:r>
            <a:r>
              <a:rPr lang="is-IS" altLang="en-US" sz="700" dirty="0">
                <a:solidFill>
                  <a:srgbClr val="5A5A5A"/>
                </a:solidFill>
                <a:ea typeface="ＭＳ Ｐゴシック" charset="-128"/>
              </a:rPr>
              <a:t>2017</a:t>
            </a:r>
            <a:r>
              <a:rPr lang="en-US" altLang="en-US" sz="700" dirty="0">
                <a:solidFill>
                  <a:srgbClr val="5A5A5A"/>
                </a:solidFill>
                <a:ea typeface="ＭＳ Ｐゴシック" charset="-128"/>
              </a:rPr>
              <a:t> IBM Corporation</a:t>
            </a:r>
          </a:p>
        </p:txBody>
      </p:sp>
      <p:sp>
        <p:nvSpPr>
          <p:cNvPr id="3" name="Rectangle 2"/>
          <p:cNvSpPr/>
          <p:nvPr userDrawn="1"/>
        </p:nvSpPr>
        <p:spPr>
          <a:xfrm>
            <a:off x="11618384" y="6618288"/>
            <a:ext cx="309700" cy="215444"/>
          </a:xfrm>
          <a:prstGeom prst="rect">
            <a:avLst/>
          </a:prstGeom>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fld id="{6DE5BF17-2B91-DF47-9C2D-AB4CE11F14A4}" type="slidenum">
              <a:rPr lang="en-US" altLang="en-US" sz="800" smtClean="0">
                <a:solidFill>
                  <a:srgbClr val="7F7F7F"/>
                </a:solidFill>
              </a:rPr>
              <a:pPr>
                <a:defRPr/>
              </a:pPr>
              <a:t>‹#›</a:t>
            </a:fld>
            <a:endParaRPr lang="en-US" altLang="en-US" sz="1000" dirty="0">
              <a:solidFill>
                <a:srgbClr val="7F7F7F"/>
              </a:solidFill>
            </a:endParaRPr>
          </a:p>
        </p:txBody>
      </p:sp>
    </p:spTree>
    <p:extLst>
      <p:ext uri="{BB962C8B-B14F-4D97-AF65-F5344CB8AC3E}">
        <p14:creationId xmlns:p14="http://schemas.microsoft.com/office/powerpoint/2010/main" val="352790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White Background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75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184691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mp;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1"/>
          </p:nvPr>
        </p:nvSpPr>
        <p:spPr/>
        <p:txBody>
          <a:bodyPr/>
          <a:lstStyle/>
          <a:p>
            <a:fld id="{5714FB1E-E660-F74D-BC29-F339B17ACE97}" type="slidenum">
              <a:rPr lang="uk-UA" smtClean="0"/>
              <a:pPr/>
              <a:t>‹#›</a:t>
            </a:fld>
            <a:endParaRPr lang="uk-UA"/>
          </a:p>
        </p:txBody>
      </p:sp>
      <p:sp>
        <p:nvSpPr>
          <p:cNvPr id="10" name="Content Placeholder 9"/>
          <p:cNvSpPr>
            <a:spLocks noGrp="1"/>
          </p:cNvSpPr>
          <p:nvPr>
            <p:ph sz="quarter" idx="12"/>
          </p:nvPr>
        </p:nvSpPr>
        <p:spPr>
          <a:xfrm>
            <a:off x="340784" y="914400"/>
            <a:ext cx="11497056" cy="53279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561563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7"/>
          <p:cNvSpPr>
            <a:spLocks noChangeArrowheads="1"/>
          </p:cNvSpPr>
          <p:nvPr userDrawn="1"/>
        </p:nvSpPr>
        <p:spPr bwMode="black">
          <a:xfrm>
            <a:off x="10120313" y="6604000"/>
            <a:ext cx="1828271" cy="183886"/>
          </a:xfrm>
          <a:prstGeom prst="rect">
            <a:avLst/>
          </a:prstGeom>
          <a:noFill/>
          <a:ln w="9525">
            <a:noFill/>
            <a:miter lim="800000"/>
            <a:headEnd/>
            <a:tailEnd/>
          </a:ln>
        </p:spPr>
        <p:txBody>
          <a:bodyPr lIns="122493" tIns="61257" rIns="122493" bIns="61257"/>
          <a:lstStyle/>
          <a:p>
            <a:pPr algn="r" eaLnBrk="1" hangingPunct="1">
              <a:defRPr/>
            </a:pPr>
            <a:r>
              <a:rPr lang="en-US" sz="1083" dirty="0">
                <a:solidFill>
                  <a:srgbClr val="0070C0"/>
                </a:solidFill>
                <a:latin typeface="Arial" pitchFamily="34" charset="0"/>
                <a:ea typeface="ＭＳ Ｐゴシック" pitchFamily="34" charset="-128"/>
              </a:rPr>
              <a:t>© 2018 IBM Corporation</a:t>
            </a:r>
          </a:p>
        </p:txBody>
      </p:sp>
      <p:sp>
        <p:nvSpPr>
          <p:cNvPr id="6" name="Rectangle 50"/>
          <p:cNvSpPr>
            <a:spLocks noChangeArrowheads="1"/>
          </p:cNvSpPr>
          <p:nvPr userDrawn="1"/>
        </p:nvSpPr>
        <p:spPr bwMode="black">
          <a:xfrm>
            <a:off x="116417" y="6556375"/>
            <a:ext cx="899583" cy="301625"/>
          </a:xfrm>
          <a:prstGeom prst="rect">
            <a:avLst/>
          </a:prstGeom>
          <a:noFill/>
          <a:ln>
            <a:noFill/>
          </a:ln>
          <a:extLst>
            <a:ext uri="{909E8E84-426E-40dd-AFC4-6F175D3DCCD1}"/>
            <a:ext uri="{91240B29-F687-4f45-9708-019B960494DF}"/>
          </a:extLst>
        </p:spPr>
        <p:txBody>
          <a:bodyPr lIns="122493" tIns="61257" rIns="122493" bIns="61257"/>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D852B6BB-6726-994E-A075-B02ECFFB2CBC}" type="slidenum">
              <a:rPr lang="en-US" altLang="ja-JP" sz="1000">
                <a:solidFill>
                  <a:srgbClr val="0070C0"/>
                </a:solidFill>
                <a:latin typeface="Century Gothic" charset="0"/>
              </a:rPr>
              <a:pPr eaLnBrk="1" hangingPunct="1"/>
              <a:t>‹#›</a:t>
            </a:fld>
            <a:endParaRPr lang="en-US" altLang="ja-JP" sz="1000">
              <a:solidFill>
                <a:srgbClr val="0070C0"/>
              </a:solidFill>
              <a:latin typeface="Century Gothic" charset="0"/>
            </a:endParaRPr>
          </a:p>
        </p:txBody>
      </p:sp>
      <p:pic>
        <p:nvPicPr>
          <p:cNvPr id="8" name="Picture 16" descr="5300_IBMpos_black_PPT_bkg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42928" y="239449"/>
            <a:ext cx="714375" cy="31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243418" y="197158"/>
            <a:ext cx="11582400" cy="426961"/>
          </a:xfrm>
          <a:noFill/>
          <a:ln>
            <a:noFill/>
          </a:ln>
        </p:spPr>
        <p:txBody>
          <a:bodyPr lIns="91315" tIns="45649" rIns="91315" bIns="45649">
            <a:spAutoFit/>
          </a:bodyPr>
          <a:lstStyle>
            <a:lvl1pPr algn="l">
              <a:defRPr lang="en-US" sz="2417" b="1" dirty="0">
                <a:solidFill>
                  <a:schemeClr val="accent1"/>
                </a:solidFill>
                <a:latin typeface="Century Gothic" pitchFamily="34" charset="0"/>
                <a:ea typeface="MS PGothic" charset="0"/>
                <a:cs typeface="Arial" pitchFamily="34" charset="0"/>
              </a:defRPr>
            </a:lvl1pPr>
          </a:lstStyle>
          <a:p>
            <a:pPr lvl="0"/>
            <a:r>
              <a:rPr lang="en-US" dirty="0"/>
              <a:t>Click to edit Master title style</a:t>
            </a:r>
          </a:p>
        </p:txBody>
      </p:sp>
      <p:sp>
        <p:nvSpPr>
          <p:cNvPr id="4" name="Content Placeholder 2"/>
          <p:cNvSpPr>
            <a:spLocks noGrp="1"/>
          </p:cNvSpPr>
          <p:nvPr>
            <p:ph idx="1"/>
          </p:nvPr>
        </p:nvSpPr>
        <p:spPr>
          <a:xfrm>
            <a:off x="243418" y="694531"/>
            <a:ext cx="11582400" cy="5706272"/>
          </a:xfrm>
        </p:spPr>
        <p:txBody>
          <a:bodyPr/>
          <a:lstStyle>
            <a:lvl1pPr marL="308309" indent="-308309">
              <a:defRPr sz="2583" b="0">
                <a:latin typeface="+mn-lt"/>
              </a:defRPr>
            </a:lvl1pPr>
            <a:lvl2pPr marL="599740" indent="-291422">
              <a:defRPr sz="2167">
                <a:latin typeface="+mn-lt"/>
              </a:defRPr>
            </a:lvl2pPr>
            <a:lvl3pPr marL="1144559" indent="-308309">
              <a:defRPr sz="1750">
                <a:latin typeface="+mn-lt"/>
              </a:defRPr>
            </a:lvl3pPr>
            <a:lvl4pPr marL="1598581" indent="-236510">
              <a:defRPr sz="1583">
                <a:latin typeface="+mn-lt"/>
              </a:defRPr>
            </a:lvl4pPr>
            <a:lvl5pPr marL="1980771" indent="-236510">
              <a:defRPr sz="1583">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7908048"/>
      </p:ext>
    </p:extLst>
  </p:cSld>
  <p:clrMapOvr>
    <a:masterClrMapping/>
  </p:clrMapOvr>
  <p:transition spd="slow"/>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29" y="0"/>
            <a:ext cx="12178093" cy="6857519"/>
          </a:xfrm>
          <a:prstGeom prst="rect">
            <a:avLst/>
          </a:prstGeom>
          <a:blipFill>
            <a:blip r:embed="rId2" cstate="print"/>
            <a:stretch>
              <a:fillRect/>
            </a:stretch>
          </a:blipFill>
        </p:spPr>
        <p:txBody>
          <a:bodyPr wrap="square" lIns="0" tIns="0" rIns="0" bIns="0" rtlCol="0"/>
          <a:lstStyle/>
          <a:p>
            <a:pPr defTabSz="554492"/>
            <a:endParaRPr sz="1092">
              <a:solidFill>
                <a:prstClr val="black"/>
              </a:solidFill>
            </a:endParaRPr>
          </a:p>
        </p:txBody>
      </p:sp>
      <p:sp>
        <p:nvSpPr>
          <p:cNvPr id="17" name="bk object 17"/>
          <p:cNvSpPr/>
          <p:nvPr/>
        </p:nvSpPr>
        <p:spPr>
          <a:xfrm>
            <a:off x="67" y="2349"/>
            <a:ext cx="12192000" cy="5359329"/>
          </a:xfrm>
          <a:custGeom>
            <a:avLst/>
            <a:gdLst/>
            <a:ahLst/>
            <a:cxnLst/>
            <a:rect l="l" t="t" r="r" b="b"/>
            <a:pathLst>
              <a:path w="20104100" h="8837930">
                <a:moveTo>
                  <a:pt x="20103989" y="0"/>
                </a:moveTo>
                <a:lnTo>
                  <a:pt x="16130" y="0"/>
                </a:lnTo>
                <a:lnTo>
                  <a:pt x="16579" y="251301"/>
                </a:lnTo>
                <a:lnTo>
                  <a:pt x="16736" y="366480"/>
                </a:lnTo>
                <a:lnTo>
                  <a:pt x="16972" y="586369"/>
                </a:lnTo>
                <a:lnTo>
                  <a:pt x="17111" y="1246035"/>
                </a:lnTo>
                <a:lnTo>
                  <a:pt x="16985" y="1465923"/>
                </a:lnTo>
                <a:lnTo>
                  <a:pt x="16838" y="1622987"/>
                </a:lnTo>
                <a:lnTo>
                  <a:pt x="16717" y="1727696"/>
                </a:lnTo>
                <a:lnTo>
                  <a:pt x="16422" y="1937113"/>
                </a:lnTo>
                <a:lnTo>
                  <a:pt x="16061" y="2146531"/>
                </a:lnTo>
                <a:lnTo>
                  <a:pt x="15639" y="2355949"/>
                </a:lnTo>
                <a:lnTo>
                  <a:pt x="14768" y="2722430"/>
                </a:lnTo>
                <a:lnTo>
                  <a:pt x="13598" y="3130794"/>
                </a:lnTo>
                <a:lnTo>
                  <a:pt x="11933" y="3633397"/>
                </a:lnTo>
                <a:lnTo>
                  <a:pt x="3925" y="5811341"/>
                </a:lnTo>
                <a:lnTo>
                  <a:pt x="2413" y="6293002"/>
                </a:lnTo>
                <a:lnTo>
                  <a:pt x="1496" y="6649012"/>
                </a:lnTo>
                <a:lnTo>
                  <a:pt x="933" y="6900313"/>
                </a:lnTo>
                <a:lnTo>
                  <a:pt x="559" y="7109731"/>
                </a:lnTo>
                <a:lnTo>
                  <a:pt x="293" y="7298207"/>
                </a:lnTo>
                <a:lnTo>
                  <a:pt x="103" y="7465741"/>
                </a:lnTo>
                <a:lnTo>
                  <a:pt x="0" y="8209174"/>
                </a:lnTo>
                <a:lnTo>
                  <a:pt x="192" y="8408120"/>
                </a:lnTo>
                <a:lnTo>
                  <a:pt x="383" y="8544242"/>
                </a:lnTo>
                <a:lnTo>
                  <a:pt x="750" y="8743189"/>
                </a:lnTo>
                <a:lnTo>
                  <a:pt x="974" y="8837427"/>
                </a:lnTo>
                <a:lnTo>
                  <a:pt x="225852" y="8711776"/>
                </a:lnTo>
                <a:lnTo>
                  <a:pt x="280869" y="8690834"/>
                </a:lnTo>
                <a:lnTo>
                  <a:pt x="496402" y="8565184"/>
                </a:lnTo>
                <a:lnTo>
                  <a:pt x="549196" y="8544242"/>
                </a:lnTo>
                <a:lnTo>
                  <a:pt x="653543" y="8481417"/>
                </a:lnTo>
                <a:lnTo>
                  <a:pt x="705112" y="8460475"/>
                </a:lnTo>
                <a:lnTo>
                  <a:pt x="756292" y="8429062"/>
                </a:lnTo>
                <a:lnTo>
                  <a:pt x="807091" y="8408120"/>
                </a:lnTo>
                <a:lnTo>
                  <a:pt x="857519" y="8376708"/>
                </a:lnTo>
                <a:lnTo>
                  <a:pt x="907583" y="8355766"/>
                </a:lnTo>
                <a:lnTo>
                  <a:pt x="957294" y="8324353"/>
                </a:lnTo>
                <a:lnTo>
                  <a:pt x="1055690" y="8282470"/>
                </a:lnTo>
                <a:lnTo>
                  <a:pt x="1104395" y="8251057"/>
                </a:lnTo>
                <a:lnTo>
                  <a:pt x="1248640" y="8188232"/>
                </a:lnTo>
                <a:lnTo>
                  <a:pt x="1296130" y="8156819"/>
                </a:lnTo>
                <a:lnTo>
                  <a:pt x="1666695" y="7989285"/>
                </a:lnTo>
                <a:lnTo>
                  <a:pt x="1846689" y="7905518"/>
                </a:lnTo>
                <a:lnTo>
                  <a:pt x="1891235" y="7895047"/>
                </a:lnTo>
                <a:lnTo>
                  <a:pt x="2023932" y="7832222"/>
                </a:lnTo>
                <a:lnTo>
                  <a:pt x="2067882" y="7821751"/>
                </a:lnTo>
                <a:lnTo>
                  <a:pt x="2199007" y="7758926"/>
                </a:lnTo>
                <a:lnTo>
                  <a:pt x="2242505" y="7748455"/>
                </a:lnTo>
                <a:lnTo>
                  <a:pt x="2285913" y="7727513"/>
                </a:lnTo>
                <a:lnTo>
                  <a:pt x="2329240" y="7717042"/>
                </a:lnTo>
                <a:lnTo>
                  <a:pt x="2415687" y="7675158"/>
                </a:lnTo>
                <a:lnTo>
                  <a:pt x="2458825" y="7664688"/>
                </a:lnTo>
                <a:lnTo>
                  <a:pt x="2501919" y="7643746"/>
                </a:lnTo>
                <a:lnTo>
                  <a:pt x="2544977" y="7633275"/>
                </a:lnTo>
                <a:lnTo>
                  <a:pt x="2588009" y="7612333"/>
                </a:lnTo>
                <a:lnTo>
                  <a:pt x="2631023" y="7601862"/>
                </a:lnTo>
                <a:lnTo>
                  <a:pt x="2674029" y="7580921"/>
                </a:lnTo>
                <a:lnTo>
                  <a:pt x="2760052" y="7559979"/>
                </a:lnTo>
                <a:lnTo>
                  <a:pt x="2803088" y="7539037"/>
                </a:lnTo>
                <a:lnTo>
                  <a:pt x="2846151" y="7528566"/>
                </a:lnTo>
                <a:lnTo>
                  <a:pt x="2889252" y="7507624"/>
                </a:lnTo>
                <a:lnTo>
                  <a:pt x="2975601" y="7486683"/>
                </a:lnTo>
                <a:lnTo>
                  <a:pt x="3018868" y="7465741"/>
                </a:lnTo>
                <a:lnTo>
                  <a:pt x="3105630" y="7444799"/>
                </a:lnTo>
                <a:lnTo>
                  <a:pt x="3149145" y="7423857"/>
                </a:lnTo>
                <a:lnTo>
                  <a:pt x="3236484" y="7402915"/>
                </a:lnTo>
                <a:lnTo>
                  <a:pt x="3280328" y="7381974"/>
                </a:lnTo>
                <a:lnTo>
                  <a:pt x="3412664" y="7350561"/>
                </a:lnTo>
                <a:lnTo>
                  <a:pt x="3457074" y="7329619"/>
                </a:lnTo>
                <a:lnTo>
                  <a:pt x="3591328" y="7298207"/>
                </a:lnTo>
                <a:lnTo>
                  <a:pt x="3636450" y="7277265"/>
                </a:lnTo>
                <a:lnTo>
                  <a:pt x="3819038" y="7235381"/>
                </a:lnTo>
                <a:lnTo>
                  <a:pt x="3865255" y="7214440"/>
                </a:lnTo>
                <a:lnTo>
                  <a:pt x="4052675" y="7172556"/>
                </a:lnTo>
                <a:lnTo>
                  <a:pt x="4100213" y="7151614"/>
                </a:lnTo>
                <a:lnTo>
                  <a:pt x="4293374" y="7109731"/>
                </a:lnTo>
                <a:lnTo>
                  <a:pt x="4342461" y="7088789"/>
                </a:lnTo>
                <a:lnTo>
                  <a:pt x="4542272" y="7046905"/>
                </a:lnTo>
                <a:lnTo>
                  <a:pt x="4593135" y="7025964"/>
                </a:lnTo>
                <a:lnTo>
                  <a:pt x="4748057" y="6994551"/>
                </a:lnTo>
                <a:lnTo>
                  <a:pt x="4800505" y="6973609"/>
                </a:lnTo>
                <a:lnTo>
                  <a:pt x="4960398" y="6942196"/>
                </a:lnTo>
                <a:lnTo>
                  <a:pt x="5611049" y="6795604"/>
                </a:lnTo>
                <a:lnTo>
                  <a:pt x="5658518" y="6795604"/>
                </a:lnTo>
                <a:lnTo>
                  <a:pt x="5849617" y="6753721"/>
                </a:lnTo>
                <a:lnTo>
                  <a:pt x="5897689" y="6753721"/>
                </a:lnTo>
                <a:lnTo>
                  <a:pt x="5994175" y="6732779"/>
                </a:lnTo>
                <a:lnTo>
                  <a:pt x="6042587" y="6732779"/>
                </a:lnTo>
                <a:lnTo>
                  <a:pt x="6139741" y="6711837"/>
                </a:lnTo>
                <a:lnTo>
                  <a:pt x="6188479" y="6711837"/>
                </a:lnTo>
                <a:lnTo>
                  <a:pt x="6286268" y="6690895"/>
                </a:lnTo>
                <a:lnTo>
                  <a:pt x="6335317" y="6690895"/>
                </a:lnTo>
                <a:lnTo>
                  <a:pt x="6433713" y="6669953"/>
                </a:lnTo>
                <a:lnTo>
                  <a:pt x="6483057" y="6669953"/>
                </a:lnTo>
                <a:lnTo>
                  <a:pt x="6532496" y="6659483"/>
                </a:lnTo>
                <a:lnTo>
                  <a:pt x="6582029" y="6659483"/>
                </a:lnTo>
                <a:lnTo>
                  <a:pt x="6631653" y="6649012"/>
                </a:lnTo>
                <a:lnTo>
                  <a:pt x="6681368" y="6649012"/>
                </a:lnTo>
                <a:lnTo>
                  <a:pt x="6731171" y="6638541"/>
                </a:lnTo>
                <a:lnTo>
                  <a:pt x="6781061" y="6638541"/>
                </a:lnTo>
                <a:lnTo>
                  <a:pt x="6831036" y="6628070"/>
                </a:lnTo>
                <a:lnTo>
                  <a:pt x="6881094" y="6628070"/>
                </a:lnTo>
                <a:lnTo>
                  <a:pt x="6931234" y="6617599"/>
                </a:lnTo>
                <a:lnTo>
                  <a:pt x="6981454" y="6617599"/>
                </a:lnTo>
                <a:lnTo>
                  <a:pt x="7031753" y="6607128"/>
                </a:lnTo>
                <a:lnTo>
                  <a:pt x="7082128" y="6607128"/>
                </a:lnTo>
                <a:lnTo>
                  <a:pt x="7132578" y="6596657"/>
                </a:lnTo>
                <a:lnTo>
                  <a:pt x="7233697" y="6596657"/>
                </a:lnTo>
                <a:lnTo>
                  <a:pt x="7284363" y="6586186"/>
                </a:lnTo>
                <a:lnTo>
                  <a:pt x="7335096" y="6586186"/>
                </a:lnTo>
                <a:lnTo>
                  <a:pt x="7385897" y="6575716"/>
                </a:lnTo>
                <a:lnTo>
                  <a:pt x="7487690" y="6575716"/>
                </a:lnTo>
                <a:lnTo>
                  <a:pt x="7538680" y="6565245"/>
                </a:lnTo>
                <a:lnTo>
                  <a:pt x="7640839" y="6565245"/>
                </a:lnTo>
                <a:lnTo>
                  <a:pt x="7692004" y="6554774"/>
                </a:lnTo>
                <a:lnTo>
                  <a:pt x="7794497" y="6554774"/>
                </a:lnTo>
                <a:lnTo>
                  <a:pt x="7845821" y="6544303"/>
                </a:lnTo>
                <a:lnTo>
                  <a:pt x="8000088" y="6544303"/>
                </a:lnTo>
                <a:lnTo>
                  <a:pt x="8051602" y="6533832"/>
                </a:lnTo>
                <a:lnTo>
                  <a:pt x="8206396" y="6533832"/>
                </a:lnTo>
                <a:lnTo>
                  <a:pt x="8258073" y="6523361"/>
                </a:lnTo>
                <a:lnTo>
                  <a:pt x="8465127" y="6523361"/>
                </a:lnTo>
                <a:lnTo>
                  <a:pt x="8516969" y="6512890"/>
                </a:lnTo>
                <a:lnTo>
                  <a:pt x="8724602" y="6512890"/>
                </a:lnTo>
                <a:lnTo>
                  <a:pt x="8776567" y="6502419"/>
                </a:lnTo>
                <a:lnTo>
                  <a:pt x="9088716" y="6502419"/>
                </a:lnTo>
                <a:lnTo>
                  <a:pt x="9140785" y="6491948"/>
                </a:lnTo>
                <a:lnTo>
                  <a:pt x="9557476" y="6491948"/>
                </a:lnTo>
                <a:lnTo>
                  <a:pt x="9609555" y="6481478"/>
                </a:lnTo>
                <a:lnTo>
                  <a:pt x="10129678" y="6481478"/>
                </a:lnTo>
                <a:lnTo>
                  <a:pt x="10285325" y="6471007"/>
                </a:lnTo>
                <a:lnTo>
                  <a:pt x="10802010" y="6471007"/>
                </a:lnTo>
                <a:lnTo>
                  <a:pt x="10904852" y="6460536"/>
                </a:lnTo>
                <a:lnTo>
                  <a:pt x="11415849" y="6460536"/>
                </a:lnTo>
                <a:lnTo>
                  <a:pt x="11466614" y="6450065"/>
                </a:lnTo>
                <a:lnTo>
                  <a:pt x="11870162" y="6450065"/>
                </a:lnTo>
                <a:lnTo>
                  <a:pt x="11920259" y="6439594"/>
                </a:lnTo>
                <a:lnTo>
                  <a:pt x="11996658" y="6439594"/>
                </a:lnTo>
                <a:lnTo>
                  <a:pt x="12145080" y="6418652"/>
                </a:lnTo>
                <a:lnTo>
                  <a:pt x="12217165" y="6418652"/>
                </a:lnTo>
                <a:lnTo>
                  <a:pt x="12287876" y="6408181"/>
                </a:lnTo>
                <a:lnTo>
                  <a:pt x="12357243" y="6408181"/>
                </a:lnTo>
                <a:lnTo>
                  <a:pt x="12492069" y="6387240"/>
                </a:lnTo>
                <a:lnTo>
                  <a:pt x="12557591" y="6387240"/>
                </a:lnTo>
                <a:lnTo>
                  <a:pt x="12621893" y="6376769"/>
                </a:lnTo>
                <a:lnTo>
                  <a:pt x="12685007" y="6376769"/>
                </a:lnTo>
                <a:lnTo>
                  <a:pt x="12746964" y="6366298"/>
                </a:lnTo>
                <a:lnTo>
                  <a:pt x="12807796" y="6366298"/>
                </a:lnTo>
                <a:lnTo>
                  <a:pt x="13361045" y="6313943"/>
                </a:lnTo>
                <a:lnTo>
                  <a:pt x="13461302" y="6313943"/>
                </a:lnTo>
                <a:lnTo>
                  <a:pt x="13510334" y="6303472"/>
                </a:lnTo>
                <a:lnTo>
                  <a:pt x="13558676" y="6303472"/>
                </a:lnTo>
                <a:lnTo>
                  <a:pt x="13606360" y="6293002"/>
                </a:lnTo>
                <a:lnTo>
                  <a:pt x="13699877" y="6293002"/>
                </a:lnTo>
                <a:lnTo>
                  <a:pt x="13745773" y="6282531"/>
                </a:lnTo>
                <a:lnTo>
                  <a:pt x="13791135" y="6282531"/>
                </a:lnTo>
                <a:lnTo>
                  <a:pt x="13835995" y="6272060"/>
                </a:lnTo>
                <a:lnTo>
                  <a:pt x="13924332" y="6272060"/>
                </a:lnTo>
                <a:lnTo>
                  <a:pt x="13967871" y="6261589"/>
                </a:lnTo>
                <a:lnTo>
                  <a:pt x="14011033" y="6261589"/>
                </a:lnTo>
                <a:lnTo>
                  <a:pt x="14053848" y="6251118"/>
                </a:lnTo>
                <a:lnTo>
                  <a:pt x="14096347" y="6251118"/>
                </a:lnTo>
                <a:lnTo>
                  <a:pt x="14138562" y="6240647"/>
                </a:lnTo>
                <a:lnTo>
                  <a:pt x="14222264" y="6240647"/>
                </a:lnTo>
                <a:lnTo>
                  <a:pt x="14263813" y="6230176"/>
                </a:lnTo>
                <a:lnTo>
                  <a:pt x="14305202" y="6230176"/>
                </a:lnTo>
                <a:lnTo>
                  <a:pt x="14346463" y="6219705"/>
                </a:lnTo>
                <a:lnTo>
                  <a:pt x="14387626" y="6219705"/>
                </a:lnTo>
                <a:lnTo>
                  <a:pt x="14428724" y="6209235"/>
                </a:lnTo>
                <a:lnTo>
                  <a:pt x="14469786" y="6209235"/>
                </a:lnTo>
                <a:lnTo>
                  <a:pt x="14551931" y="6188293"/>
                </a:lnTo>
                <a:lnTo>
                  <a:pt x="14593075" y="6188293"/>
                </a:lnTo>
                <a:lnTo>
                  <a:pt x="14634309" y="6177822"/>
                </a:lnTo>
                <a:lnTo>
                  <a:pt x="14675664" y="6177822"/>
                </a:lnTo>
                <a:lnTo>
                  <a:pt x="14758862" y="6156880"/>
                </a:lnTo>
                <a:lnTo>
                  <a:pt x="14800766" y="6156880"/>
                </a:lnTo>
                <a:lnTo>
                  <a:pt x="14885343" y="6135938"/>
                </a:lnTo>
                <a:lnTo>
                  <a:pt x="14928077" y="6135938"/>
                </a:lnTo>
                <a:lnTo>
                  <a:pt x="15102717" y="6094055"/>
                </a:lnTo>
                <a:lnTo>
                  <a:pt x="15147459" y="6094055"/>
                </a:lnTo>
                <a:lnTo>
                  <a:pt x="15379212" y="6041700"/>
                </a:lnTo>
                <a:lnTo>
                  <a:pt x="15581305" y="5999817"/>
                </a:lnTo>
                <a:lnTo>
                  <a:pt x="15632398" y="5978875"/>
                </a:lnTo>
                <a:lnTo>
                  <a:pt x="15786798" y="5947462"/>
                </a:lnTo>
                <a:lnTo>
                  <a:pt x="15838589" y="5926521"/>
                </a:lnTo>
                <a:lnTo>
                  <a:pt x="15890516" y="5916050"/>
                </a:lnTo>
                <a:lnTo>
                  <a:pt x="15942565" y="5895108"/>
                </a:lnTo>
                <a:lnTo>
                  <a:pt x="16046966" y="5874166"/>
                </a:lnTo>
                <a:lnTo>
                  <a:pt x="16099288" y="5853224"/>
                </a:lnTo>
                <a:lnTo>
                  <a:pt x="16151671" y="5842754"/>
                </a:lnTo>
                <a:lnTo>
                  <a:pt x="16256558" y="5800870"/>
                </a:lnTo>
                <a:lnTo>
                  <a:pt x="16309032" y="5790399"/>
                </a:lnTo>
                <a:lnTo>
                  <a:pt x="16361506" y="5769457"/>
                </a:lnTo>
                <a:lnTo>
                  <a:pt x="16413965" y="5758986"/>
                </a:lnTo>
                <a:lnTo>
                  <a:pt x="16518777" y="5717103"/>
                </a:lnTo>
                <a:lnTo>
                  <a:pt x="16571100" y="5706632"/>
                </a:lnTo>
                <a:lnTo>
                  <a:pt x="16675503" y="5664748"/>
                </a:lnTo>
                <a:lnTo>
                  <a:pt x="16727552" y="5654278"/>
                </a:lnTo>
                <a:lnTo>
                  <a:pt x="16882913" y="5591452"/>
                </a:lnTo>
                <a:lnTo>
                  <a:pt x="16934387" y="5580981"/>
                </a:lnTo>
                <a:lnTo>
                  <a:pt x="17087654" y="5518156"/>
                </a:lnTo>
                <a:lnTo>
                  <a:pt x="17138309" y="5507685"/>
                </a:lnTo>
                <a:lnTo>
                  <a:pt x="17288755" y="5444860"/>
                </a:lnTo>
                <a:lnTo>
                  <a:pt x="17338348" y="5434389"/>
                </a:lnTo>
                <a:lnTo>
                  <a:pt x="17485245" y="5371564"/>
                </a:lnTo>
                <a:lnTo>
                  <a:pt x="17533533" y="5361093"/>
                </a:lnTo>
                <a:lnTo>
                  <a:pt x="17676152" y="5298267"/>
                </a:lnTo>
                <a:lnTo>
                  <a:pt x="17722893" y="5287797"/>
                </a:lnTo>
                <a:lnTo>
                  <a:pt x="17860506" y="5224971"/>
                </a:lnTo>
                <a:lnTo>
                  <a:pt x="17905456" y="5214500"/>
                </a:lnTo>
                <a:lnTo>
                  <a:pt x="17993886" y="5172617"/>
                </a:lnTo>
                <a:lnTo>
                  <a:pt x="18080253" y="5141204"/>
                </a:lnTo>
                <a:lnTo>
                  <a:pt x="18364537" y="5026024"/>
                </a:lnTo>
                <a:lnTo>
                  <a:pt x="18440117" y="5005083"/>
                </a:lnTo>
                <a:lnTo>
                  <a:pt x="18476891" y="4984141"/>
                </a:lnTo>
                <a:lnTo>
                  <a:pt x="18548330" y="4963199"/>
                </a:lnTo>
                <a:lnTo>
                  <a:pt x="20103989" y="3926582"/>
                </a:lnTo>
                <a:lnTo>
                  <a:pt x="20103989"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18" name="bk object 18"/>
          <p:cNvSpPr/>
          <p:nvPr/>
        </p:nvSpPr>
        <p:spPr>
          <a:xfrm>
            <a:off x="8358196" y="3410232"/>
            <a:ext cx="1662055" cy="3428230"/>
          </a:xfrm>
          <a:custGeom>
            <a:avLst/>
            <a:gdLst/>
            <a:ahLst/>
            <a:cxnLst/>
            <a:rect l="l" t="t" r="r" b="b"/>
            <a:pathLst>
              <a:path w="2740659" h="5653405">
                <a:moveTo>
                  <a:pt x="2740530" y="0"/>
                </a:moveTo>
                <a:lnTo>
                  <a:pt x="2682093" y="23509"/>
                </a:lnTo>
                <a:lnTo>
                  <a:pt x="2625391" y="45545"/>
                </a:lnTo>
                <a:lnTo>
                  <a:pt x="2570302" y="66190"/>
                </a:lnTo>
                <a:lnTo>
                  <a:pt x="2516701" y="85531"/>
                </a:lnTo>
                <a:lnTo>
                  <a:pt x="2464466" y="103651"/>
                </a:lnTo>
                <a:lnTo>
                  <a:pt x="2413473" y="120636"/>
                </a:lnTo>
                <a:lnTo>
                  <a:pt x="2363599" y="136568"/>
                </a:lnTo>
                <a:lnTo>
                  <a:pt x="2314720" y="151534"/>
                </a:lnTo>
                <a:lnTo>
                  <a:pt x="2266713" y="165616"/>
                </a:lnTo>
                <a:lnTo>
                  <a:pt x="2219456" y="178901"/>
                </a:lnTo>
                <a:lnTo>
                  <a:pt x="2172823" y="191472"/>
                </a:lnTo>
                <a:lnTo>
                  <a:pt x="2080942" y="214811"/>
                </a:lnTo>
                <a:lnTo>
                  <a:pt x="1990084" y="236309"/>
                </a:lnTo>
                <a:lnTo>
                  <a:pt x="1418593" y="362249"/>
                </a:lnTo>
                <a:lnTo>
                  <a:pt x="1372100" y="372132"/>
                </a:lnTo>
                <a:lnTo>
                  <a:pt x="1325107" y="381551"/>
                </a:lnTo>
                <a:lnTo>
                  <a:pt x="1229764" y="399195"/>
                </a:lnTo>
                <a:lnTo>
                  <a:pt x="1132854" y="415571"/>
                </a:lnTo>
                <a:lnTo>
                  <a:pt x="685192" y="484103"/>
                </a:lnTo>
                <a:lnTo>
                  <a:pt x="534825" y="509189"/>
                </a:lnTo>
                <a:lnTo>
                  <a:pt x="435113" y="527679"/>
                </a:lnTo>
                <a:lnTo>
                  <a:pt x="385525" y="537601"/>
                </a:lnTo>
                <a:lnTo>
                  <a:pt x="336166" y="548039"/>
                </a:lnTo>
                <a:lnTo>
                  <a:pt x="287070" y="559044"/>
                </a:lnTo>
                <a:lnTo>
                  <a:pt x="238276" y="570663"/>
                </a:lnTo>
                <a:lnTo>
                  <a:pt x="189819" y="582946"/>
                </a:lnTo>
                <a:lnTo>
                  <a:pt x="141735" y="595942"/>
                </a:lnTo>
                <a:lnTo>
                  <a:pt x="94061" y="609700"/>
                </a:lnTo>
                <a:lnTo>
                  <a:pt x="46834" y="624269"/>
                </a:lnTo>
                <a:lnTo>
                  <a:pt x="89" y="639697"/>
                </a:lnTo>
                <a:lnTo>
                  <a:pt x="0" y="854792"/>
                </a:lnTo>
                <a:lnTo>
                  <a:pt x="178" y="944313"/>
                </a:lnTo>
                <a:lnTo>
                  <a:pt x="470" y="1035693"/>
                </a:lnTo>
                <a:lnTo>
                  <a:pt x="657" y="1082052"/>
                </a:lnTo>
                <a:lnTo>
                  <a:pt x="871" y="1128844"/>
                </a:lnTo>
                <a:lnTo>
                  <a:pt x="1376" y="1223679"/>
                </a:lnTo>
                <a:lnTo>
                  <a:pt x="1665" y="1271701"/>
                </a:lnTo>
                <a:lnTo>
                  <a:pt x="1979" y="1320111"/>
                </a:lnTo>
                <a:lnTo>
                  <a:pt x="2674" y="1418052"/>
                </a:lnTo>
                <a:lnTo>
                  <a:pt x="3457" y="1517415"/>
                </a:lnTo>
                <a:lnTo>
                  <a:pt x="4322" y="1618112"/>
                </a:lnTo>
                <a:lnTo>
                  <a:pt x="5264" y="1720055"/>
                </a:lnTo>
                <a:lnTo>
                  <a:pt x="6277" y="1823157"/>
                </a:lnTo>
                <a:lnTo>
                  <a:pt x="7355" y="1927332"/>
                </a:lnTo>
                <a:lnTo>
                  <a:pt x="8494" y="2032490"/>
                </a:lnTo>
                <a:lnTo>
                  <a:pt x="9689" y="2138545"/>
                </a:lnTo>
                <a:lnTo>
                  <a:pt x="11572" y="2299117"/>
                </a:lnTo>
                <a:lnTo>
                  <a:pt x="13548" y="2461215"/>
                </a:lnTo>
                <a:lnTo>
                  <a:pt x="16298" y="2679209"/>
                </a:lnTo>
                <a:lnTo>
                  <a:pt x="29184" y="3668479"/>
                </a:lnTo>
                <a:lnTo>
                  <a:pt x="31905" y="3885991"/>
                </a:lnTo>
                <a:lnTo>
                  <a:pt x="33852" y="4047614"/>
                </a:lnTo>
                <a:lnTo>
                  <a:pt x="35700" y="4207612"/>
                </a:lnTo>
                <a:lnTo>
                  <a:pt x="36867" y="4313230"/>
                </a:lnTo>
                <a:lnTo>
                  <a:pt x="37977" y="4417907"/>
                </a:lnTo>
                <a:lnTo>
                  <a:pt x="39023" y="4521556"/>
                </a:lnTo>
                <a:lnTo>
                  <a:pt x="40001" y="4624090"/>
                </a:lnTo>
                <a:lnTo>
                  <a:pt x="40905" y="4725421"/>
                </a:lnTo>
                <a:lnTo>
                  <a:pt x="41834" y="4839320"/>
                </a:lnTo>
                <a:lnTo>
                  <a:pt x="42470" y="4924125"/>
                </a:lnTo>
                <a:lnTo>
                  <a:pt x="43120" y="5021322"/>
                </a:lnTo>
                <a:lnTo>
                  <a:pt x="43409" y="5069344"/>
                </a:lnTo>
                <a:lnTo>
                  <a:pt x="43674" y="5116967"/>
                </a:lnTo>
                <a:lnTo>
                  <a:pt x="43914" y="5164180"/>
                </a:lnTo>
                <a:lnTo>
                  <a:pt x="44128" y="5210972"/>
                </a:lnTo>
                <a:lnTo>
                  <a:pt x="44315" y="5257331"/>
                </a:lnTo>
                <a:lnTo>
                  <a:pt x="44475" y="5303248"/>
                </a:lnTo>
                <a:lnTo>
                  <a:pt x="44607" y="5348711"/>
                </a:lnTo>
                <a:lnTo>
                  <a:pt x="44711" y="5393710"/>
                </a:lnTo>
                <a:lnTo>
                  <a:pt x="44827" y="5568836"/>
                </a:lnTo>
                <a:lnTo>
                  <a:pt x="44695" y="5653327"/>
                </a:lnTo>
                <a:lnTo>
                  <a:pt x="2723462" y="5639458"/>
                </a:lnTo>
                <a:lnTo>
                  <a:pt x="2724137" y="5540324"/>
                </a:lnTo>
                <a:lnTo>
                  <a:pt x="2724772" y="5440918"/>
                </a:lnTo>
                <a:lnTo>
                  <a:pt x="2725652" y="5291319"/>
                </a:lnTo>
                <a:lnTo>
                  <a:pt x="2726449" y="5141163"/>
                </a:lnTo>
                <a:lnTo>
                  <a:pt x="2727169" y="4990486"/>
                </a:lnTo>
                <a:lnTo>
                  <a:pt x="2727869" y="4825462"/>
                </a:lnTo>
                <a:lnTo>
                  <a:pt x="2728396" y="4687702"/>
                </a:lnTo>
                <a:lnTo>
                  <a:pt x="2729073" y="4484898"/>
                </a:lnTo>
                <a:lnTo>
                  <a:pt x="2729653" y="4281431"/>
                </a:lnTo>
                <a:lnTo>
                  <a:pt x="2730145" y="4077383"/>
                </a:lnTo>
                <a:lnTo>
                  <a:pt x="2730658" y="3821630"/>
                </a:lnTo>
                <a:lnTo>
                  <a:pt x="2731001" y="3616572"/>
                </a:lnTo>
                <a:lnTo>
                  <a:pt x="2731431" y="3308419"/>
                </a:lnTo>
                <a:lnTo>
                  <a:pt x="2732496" y="2382442"/>
                </a:lnTo>
                <a:lnTo>
                  <a:pt x="2732980" y="2032490"/>
                </a:lnTo>
                <a:lnTo>
                  <a:pt x="2733329" y="1823157"/>
                </a:lnTo>
                <a:lnTo>
                  <a:pt x="2733629" y="1664286"/>
                </a:lnTo>
                <a:lnTo>
                  <a:pt x="2734208" y="1408983"/>
                </a:lnTo>
                <a:lnTo>
                  <a:pt x="2734765" y="1205363"/>
                </a:lnTo>
                <a:lnTo>
                  <a:pt x="2735463" y="989776"/>
                </a:lnTo>
                <a:lnTo>
                  <a:pt x="2735975" y="850625"/>
                </a:lnTo>
                <a:lnTo>
                  <a:pt x="2736599" y="699305"/>
                </a:lnTo>
                <a:lnTo>
                  <a:pt x="2738065" y="398129"/>
                </a:lnTo>
                <a:lnTo>
                  <a:pt x="2739854" y="99133"/>
                </a:lnTo>
                <a:lnTo>
                  <a:pt x="2740530"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19" name="bk object 19"/>
          <p:cNvSpPr/>
          <p:nvPr/>
        </p:nvSpPr>
        <p:spPr>
          <a:xfrm>
            <a:off x="2151779" y="4085652"/>
            <a:ext cx="1629708" cy="2770155"/>
          </a:xfrm>
          <a:custGeom>
            <a:avLst/>
            <a:gdLst/>
            <a:ahLst/>
            <a:cxnLst/>
            <a:rect l="l" t="t" r="r" b="b"/>
            <a:pathLst>
              <a:path w="2687320" h="4568190">
                <a:moveTo>
                  <a:pt x="2682410" y="0"/>
                </a:moveTo>
                <a:lnTo>
                  <a:pt x="1715856" y="120391"/>
                </a:lnTo>
                <a:lnTo>
                  <a:pt x="1630377" y="133591"/>
                </a:lnTo>
                <a:lnTo>
                  <a:pt x="1569390" y="144195"/>
                </a:lnTo>
                <a:lnTo>
                  <a:pt x="1509404" y="155779"/>
                </a:lnTo>
                <a:lnTo>
                  <a:pt x="1469223" y="164213"/>
                </a:lnTo>
                <a:lnTo>
                  <a:pt x="1407550" y="178181"/>
                </a:lnTo>
                <a:lnTo>
                  <a:pt x="1342853" y="194029"/>
                </a:lnTo>
                <a:lnTo>
                  <a:pt x="1249277" y="218671"/>
                </a:lnTo>
                <a:lnTo>
                  <a:pt x="1115526" y="256240"/>
                </a:lnTo>
                <a:lnTo>
                  <a:pt x="0" y="589175"/>
                </a:lnTo>
                <a:lnTo>
                  <a:pt x="2345" y="1163698"/>
                </a:lnTo>
                <a:lnTo>
                  <a:pt x="11858" y="3740817"/>
                </a:lnTo>
                <a:lnTo>
                  <a:pt x="15182" y="4567872"/>
                </a:lnTo>
                <a:lnTo>
                  <a:pt x="2687258" y="4567872"/>
                </a:lnTo>
                <a:lnTo>
                  <a:pt x="2682410"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20" name="bk object 20"/>
          <p:cNvSpPr/>
          <p:nvPr/>
        </p:nvSpPr>
        <p:spPr>
          <a:xfrm>
            <a:off x="6318129" y="3866377"/>
            <a:ext cx="1672068" cy="2991182"/>
          </a:xfrm>
          <a:custGeom>
            <a:avLst/>
            <a:gdLst/>
            <a:ahLst/>
            <a:cxnLst/>
            <a:rect l="l" t="t" r="r" b="b"/>
            <a:pathLst>
              <a:path w="2757169" h="4932680">
                <a:moveTo>
                  <a:pt x="2756554" y="0"/>
                </a:moveTo>
                <a:lnTo>
                  <a:pt x="1347801" y="86520"/>
                </a:lnTo>
                <a:lnTo>
                  <a:pt x="1296829" y="88850"/>
                </a:lnTo>
                <a:lnTo>
                  <a:pt x="1144794" y="93935"/>
                </a:lnTo>
                <a:lnTo>
                  <a:pt x="446641" y="105710"/>
                </a:lnTo>
                <a:lnTo>
                  <a:pt x="298010" y="111810"/>
                </a:lnTo>
                <a:lnTo>
                  <a:pt x="198841" y="117722"/>
                </a:lnTo>
                <a:lnTo>
                  <a:pt x="99527" y="125447"/>
                </a:lnTo>
                <a:lnTo>
                  <a:pt x="49794" y="130079"/>
                </a:lnTo>
                <a:lnTo>
                  <a:pt x="0" y="135273"/>
                </a:lnTo>
                <a:lnTo>
                  <a:pt x="38" y="181211"/>
                </a:lnTo>
                <a:lnTo>
                  <a:pt x="157" y="273962"/>
                </a:lnTo>
                <a:lnTo>
                  <a:pt x="329" y="367840"/>
                </a:lnTo>
                <a:lnTo>
                  <a:pt x="435" y="415185"/>
                </a:lnTo>
                <a:lnTo>
                  <a:pt x="683" y="510656"/>
                </a:lnTo>
                <a:lnTo>
                  <a:pt x="978" y="607127"/>
                </a:lnTo>
                <a:lnTo>
                  <a:pt x="1506" y="753595"/>
                </a:lnTo>
                <a:lnTo>
                  <a:pt x="2127" y="902027"/>
                </a:lnTo>
                <a:lnTo>
                  <a:pt x="2833" y="1052253"/>
                </a:lnTo>
                <a:lnTo>
                  <a:pt x="3617" y="1204100"/>
                </a:lnTo>
                <a:lnTo>
                  <a:pt x="4767" y="1408791"/>
                </a:lnTo>
                <a:lnTo>
                  <a:pt x="6022" y="1615658"/>
                </a:lnTo>
                <a:lnTo>
                  <a:pt x="8055" y="1929153"/>
                </a:lnTo>
                <a:lnTo>
                  <a:pt x="16083" y="3090645"/>
                </a:lnTo>
                <a:lnTo>
                  <a:pt x="18469" y="3456681"/>
                </a:lnTo>
                <a:lnTo>
                  <a:pt x="20021" y="3714941"/>
                </a:lnTo>
                <a:lnTo>
                  <a:pt x="21143" y="3919026"/>
                </a:lnTo>
                <a:lnTo>
                  <a:pt x="21902" y="4070352"/>
                </a:lnTo>
                <a:lnTo>
                  <a:pt x="22580" y="4219999"/>
                </a:lnTo>
                <a:lnTo>
                  <a:pt x="23171" y="4367796"/>
                </a:lnTo>
                <a:lnTo>
                  <a:pt x="23666" y="4513573"/>
                </a:lnTo>
                <a:lnTo>
                  <a:pt x="23938" y="4609550"/>
                </a:lnTo>
                <a:lnTo>
                  <a:pt x="24161" y="4704503"/>
                </a:lnTo>
                <a:lnTo>
                  <a:pt x="24334" y="4798381"/>
                </a:lnTo>
                <a:lnTo>
                  <a:pt x="24487" y="4932614"/>
                </a:lnTo>
                <a:lnTo>
                  <a:pt x="2705042" y="4932614"/>
                </a:lnTo>
                <a:lnTo>
                  <a:pt x="2756554"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21" name="bk object 21"/>
          <p:cNvSpPr/>
          <p:nvPr/>
        </p:nvSpPr>
        <p:spPr>
          <a:xfrm>
            <a:off x="0" y="2314406"/>
            <a:ext cx="12190460" cy="3041625"/>
          </a:xfrm>
          <a:custGeom>
            <a:avLst/>
            <a:gdLst/>
            <a:ahLst/>
            <a:cxnLst/>
            <a:rect l="l" t="t" r="r" b="b"/>
            <a:pathLst>
              <a:path w="20101560" h="5015865">
                <a:moveTo>
                  <a:pt x="0" y="5015700"/>
                </a:moveTo>
                <a:lnTo>
                  <a:pt x="577040" y="4674073"/>
                </a:lnTo>
                <a:lnTo>
                  <a:pt x="1067781" y="4445247"/>
                </a:lnTo>
                <a:lnTo>
                  <a:pt x="1583657" y="4195446"/>
                </a:lnTo>
                <a:lnTo>
                  <a:pt x="2085568" y="3991239"/>
                </a:lnTo>
                <a:lnTo>
                  <a:pt x="2577230" y="3805030"/>
                </a:lnTo>
                <a:lnTo>
                  <a:pt x="3060523" y="3635921"/>
                </a:lnTo>
                <a:lnTo>
                  <a:pt x="3537287" y="3483220"/>
                </a:lnTo>
                <a:lnTo>
                  <a:pt x="4012195" y="3346471"/>
                </a:lnTo>
                <a:lnTo>
                  <a:pt x="4485240" y="3224531"/>
                </a:lnTo>
                <a:lnTo>
                  <a:pt x="4961072" y="3117184"/>
                </a:lnTo>
                <a:lnTo>
                  <a:pt x="5440639" y="3023284"/>
                </a:lnTo>
                <a:lnTo>
                  <a:pt x="5927651" y="2942377"/>
                </a:lnTo>
                <a:lnTo>
                  <a:pt x="6423971" y="2873773"/>
                </a:lnTo>
                <a:lnTo>
                  <a:pt x="6932403" y="2816570"/>
                </a:lnTo>
                <a:lnTo>
                  <a:pt x="7454801" y="2770069"/>
                </a:lnTo>
                <a:lnTo>
                  <a:pt x="7993953" y="2733603"/>
                </a:lnTo>
                <a:lnTo>
                  <a:pt x="8553602" y="2706708"/>
                </a:lnTo>
                <a:lnTo>
                  <a:pt x="9134695" y="2688248"/>
                </a:lnTo>
                <a:lnTo>
                  <a:pt x="9740852" y="2677538"/>
                </a:lnTo>
                <a:lnTo>
                  <a:pt x="10374053" y="2674347"/>
                </a:lnTo>
                <a:lnTo>
                  <a:pt x="10887126" y="2670019"/>
                </a:lnTo>
                <a:lnTo>
                  <a:pt x="11405806" y="2656802"/>
                </a:lnTo>
                <a:lnTo>
                  <a:pt x="11928197" y="2633552"/>
                </a:lnTo>
                <a:lnTo>
                  <a:pt x="12453390" y="2600045"/>
                </a:lnTo>
                <a:lnTo>
                  <a:pt x="12979573" y="2554922"/>
                </a:lnTo>
                <a:lnTo>
                  <a:pt x="13506580" y="2497942"/>
                </a:lnTo>
                <a:lnTo>
                  <a:pt x="14030867" y="2427976"/>
                </a:lnTo>
                <a:lnTo>
                  <a:pt x="14553257" y="2344325"/>
                </a:lnTo>
                <a:lnTo>
                  <a:pt x="15070948" y="2246550"/>
                </a:lnTo>
                <a:lnTo>
                  <a:pt x="15583115" y="2133283"/>
                </a:lnTo>
                <a:lnTo>
                  <a:pt x="16088768" y="2004276"/>
                </a:lnTo>
                <a:lnTo>
                  <a:pt x="16586011" y="1858640"/>
                </a:lnTo>
                <a:lnTo>
                  <a:pt x="17073938" y="1695459"/>
                </a:lnTo>
                <a:lnTo>
                  <a:pt x="17549828" y="1514033"/>
                </a:lnTo>
                <a:lnTo>
                  <a:pt x="18014505" y="1313701"/>
                </a:lnTo>
                <a:lnTo>
                  <a:pt x="18464258" y="1093531"/>
                </a:lnTo>
                <a:lnTo>
                  <a:pt x="18899996" y="852858"/>
                </a:lnTo>
                <a:lnTo>
                  <a:pt x="19318172" y="590754"/>
                </a:lnTo>
                <a:lnTo>
                  <a:pt x="19719446" y="306773"/>
                </a:lnTo>
                <a:lnTo>
                  <a:pt x="20101263" y="0"/>
                </a:lnTo>
              </a:path>
            </a:pathLst>
          </a:custGeom>
          <a:ln w="73296">
            <a:solidFill>
              <a:srgbClr val="FFFFFF"/>
            </a:solidFill>
          </a:ln>
        </p:spPr>
        <p:txBody>
          <a:bodyPr wrap="square" lIns="0" tIns="0" rIns="0" bIns="0" rtlCol="0"/>
          <a:lstStyle/>
          <a:p>
            <a:pPr defTabSz="554492"/>
            <a:endParaRPr sz="1092">
              <a:solidFill>
                <a:prstClr val="black"/>
              </a:solidFill>
            </a:endParaRPr>
          </a:p>
        </p:txBody>
      </p:sp>
      <p:sp>
        <p:nvSpPr>
          <p:cNvPr id="2" name="Holder 2"/>
          <p:cNvSpPr>
            <a:spLocks noGrp="1"/>
          </p:cNvSpPr>
          <p:nvPr>
            <p:ph type="title"/>
          </p:nvPr>
        </p:nvSpPr>
        <p:spPr>
          <a:xfrm>
            <a:off x="3157713" y="3014555"/>
            <a:ext cx="5876572" cy="615874"/>
          </a:xfrm>
        </p:spPr>
        <p:txBody>
          <a:bodyPr lIns="0" tIns="0" rIns="0" bIns="0"/>
          <a:lstStyle>
            <a:lvl1pPr>
              <a:defRPr sz="4002" b="0" i="0">
                <a:solidFill>
                  <a:srgbClr val="BCBBB9"/>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1"/>
            <a:ext cx="3901440" cy="292388"/>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a:xfrm>
            <a:off x="609600" y="6377941"/>
            <a:ext cx="2804160" cy="292388"/>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3/18</a:t>
            </a:fld>
            <a:endParaRPr lang="en-US">
              <a:solidFill>
                <a:prstClr val="black">
                  <a:tint val="75000"/>
                </a:prstClr>
              </a:solidFill>
            </a:endParaRPr>
          </a:p>
        </p:txBody>
      </p:sp>
      <p:sp>
        <p:nvSpPr>
          <p:cNvPr id="7" name="Holder 7"/>
          <p:cNvSpPr>
            <a:spLocks noGrp="1"/>
          </p:cNvSpPr>
          <p:nvPr>
            <p:ph type="sldNum" sz="quarter" idx="7"/>
          </p:nvPr>
        </p:nvSpPr>
        <p:spPr>
          <a:xfrm>
            <a:off x="8778241" y="6377941"/>
            <a:ext cx="2804160" cy="292388"/>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76566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iX-Cover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EBC297A-39AF-BB4C-B936-D8AE77BC6C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11"/>
          <p:cNvSpPr>
            <a:spLocks noGrp="1"/>
          </p:cNvSpPr>
          <p:nvPr>
            <p:ph type="body" sz="quarter" idx="16" hasCustomPrompt="1"/>
          </p:nvPr>
        </p:nvSpPr>
        <p:spPr>
          <a:xfrm>
            <a:off x="3172968" y="2171700"/>
            <a:ext cx="8668512" cy="914400"/>
          </a:xfrm>
        </p:spPr>
        <p:txBody>
          <a:bodyPr/>
          <a:lstStyle>
            <a:lvl1pPr>
              <a:defRPr sz="2000" baseline="0">
                <a:solidFill>
                  <a:schemeClr val="bg1"/>
                </a:solidFill>
              </a:defRPr>
            </a:lvl1pPr>
          </a:lstStyle>
          <a:p>
            <a:pPr lvl="0"/>
            <a:r>
              <a:rPr lang="en-US" dirty="0"/>
              <a:t>Subhead (if needed)</a:t>
            </a:r>
          </a:p>
        </p:txBody>
      </p:sp>
      <p:sp>
        <p:nvSpPr>
          <p:cNvPr id="10" name="Text Placeholder 18"/>
          <p:cNvSpPr>
            <a:spLocks noGrp="1"/>
          </p:cNvSpPr>
          <p:nvPr>
            <p:ph type="body" sz="quarter" idx="17" hasCustomPrompt="1"/>
          </p:nvPr>
        </p:nvSpPr>
        <p:spPr>
          <a:xfrm>
            <a:off x="3172968" y="4183381"/>
            <a:ext cx="8668512" cy="342900"/>
          </a:xfrm>
        </p:spPr>
        <p:txBody>
          <a:bodyPr/>
          <a:lstStyle>
            <a:lvl1pPr>
              <a:defRPr i="0" baseline="0">
                <a:solidFill>
                  <a:schemeClr val="bg1"/>
                </a:solidFill>
              </a:defRPr>
            </a:lvl1pPr>
          </a:lstStyle>
          <a:p>
            <a:pPr lvl="0"/>
            <a:r>
              <a:rPr lang="en-US" dirty="0"/>
              <a:t>Presenter’s Name, Title</a:t>
            </a:r>
          </a:p>
        </p:txBody>
      </p:sp>
      <p:sp>
        <p:nvSpPr>
          <p:cNvPr id="11" name="Text Placeholder 18"/>
          <p:cNvSpPr>
            <a:spLocks noGrp="1"/>
          </p:cNvSpPr>
          <p:nvPr>
            <p:ph type="body" sz="quarter" idx="18" hasCustomPrompt="1"/>
          </p:nvPr>
        </p:nvSpPr>
        <p:spPr>
          <a:xfrm>
            <a:off x="3172968" y="4572001"/>
            <a:ext cx="8668512" cy="342900"/>
          </a:xfrm>
        </p:spPr>
        <p:txBody>
          <a:bodyPr/>
          <a:lstStyle>
            <a:lvl1pPr>
              <a:defRPr i="0" baseline="0">
                <a:solidFill>
                  <a:schemeClr val="bg1"/>
                </a:solidFill>
              </a:defRPr>
            </a:lvl1pPr>
          </a:lstStyle>
          <a:p>
            <a:pPr lvl="0"/>
            <a:r>
              <a:rPr lang="en-US" dirty="0"/>
              <a:t>Date</a:t>
            </a:r>
          </a:p>
        </p:txBody>
      </p:sp>
      <p:sp>
        <p:nvSpPr>
          <p:cNvPr id="14" name="Title 1"/>
          <p:cNvSpPr>
            <a:spLocks noGrp="1"/>
          </p:cNvSpPr>
          <p:nvPr>
            <p:ph type="title"/>
          </p:nvPr>
        </p:nvSpPr>
        <p:spPr>
          <a:xfrm>
            <a:off x="3172968" y="341376"/>
            <a:ext cx="8665464" cy="1716024"/>
          </a:xfrm>
        </p:spPr>
        <p:txBody>
          <a:bodyPr anchor="b"/>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57251" y="1397000"/>
            <a:ext cx="1894636" cy="768096"/>
          </a:xfrm>
          <a:prstGeom prst="rect">
            <a:avLst/>
          </a:prstGeom>
        </p:spPr>
      </p:pic>
    </p:spTree>
    <p:extLst>
      <p:ext uri="{BB962C8B-B14F-4D97-AF65-F5344CB8AC3E}">
        <p14:creationId xmlns:p14="http://schemas.microsoft.com/office/powerpoint/2010/main" val="350413992"/>
      </p:ext>
    </p:extLst>
  </p:cSld>
  <p:clrMapOvr>
    <a:masterClrMapping/>
  </p:clrMapOvr>
  <p:transition spd="med"/>
  <p:extLst mod="1">
    <p:ext uri="{DCECCB84-F9BA-43D5-87BE-67443E8EF086}">
      <p15:sldGuideLst xmlns:p15="http://schemas.microsoft.com/office/powerpoint/2012/main">
        <p15:guide id="1" orient="horz" pos="1620">
          <p15:clr>
            <a:srgbClr val="FBAE40"/>
          </p15:clr>
        </p15:guide>
        <p15:guide id="2" pos="2880">
          <p15:clr>
            <a:srgbClr val="FBAE40"/>
          </p15:clr>
        </p15:guide>
        <p15:guide id="3" pos="158">
          <p15:clr>
            <a:srgbClr val="FBAE40"/>
          </p15:clr>
        </p15:guide>
        <p15:guide id="4" pos="5602">
          <p15:clr>
            <a:srgbClr val="FBAE40"/>
          </p15:clr>
        </p15:guide>
        <p15:guide id="5" orient="horz" pos="123">
          <p15:clr>
            <a:srgbClr val="FBAE40"/>
          </p15:clr>
        </p15:guide>
        <p15:guide id="6" orient="horz" pos="248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0FDDEA-ADCC-AE4C-A94E-1E3AB4C4CF7B}" type="datetimeFigureOut">
              <a:rPr lang="en-US" smtClean="0"/>
              <a:t>8/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8217949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Rectangle 6"/>
          <p:cNvSpPr>
            <a:spLocks noChangeArrowheads="1"/>
          </p:cNvSpPr>
          <p:nvPr/>
        </p:nvSpPr>
        <p:spPr bwMode="black">
          <a:xfrm>
            <a:off x="7888817" y="6481765"/>
            <a:ext cx="4072467" cy="3086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67" tIns="61384" rIns="122767" bIns="61384">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defTabSz="914309"/>
            <a:r>
              <a:rPr lang="en-US" altLang="en-US" sz="1200" dirty="0">
                <a:solidFill>
                  <a:srgbClr val="000000"/>
                </a:solidFill>
                <a:latin typeface="Helvetica Neue" charset="0"/>
                <a:ea typeface="Helvetica Neue" charset="0"/>
                <a:cs typeface="Helvetica Neue" charset="0"/>
              </a:rPr>
              <a:t>© 2017 IBM Corporation</a:t>
            </a:r>
          </a:p>
        </p:txBody>
      </p:sp>
      <p:sp>
        <p:nvSpPr>
          <p:cNvPr id="4" name="Rectangle 5"/>
          <p:cNvSpPr txBox="1">
            <a:spLocks noChangeArrowheads="1"/>
          </p:cNvSpPr>
          <p:nvPr/>
        </p:nvSpPr>
        <p:spPr bwMode="auto">
          <a:xfrm>
            <a:off x="357717" y="411164"/>
            <a:ext cx="10615083" cy="492125"/>
          </a:xfrm>
          <a:prstGeom prst="rect">
            <a:avLst/>
          </a:prstGeom>
          <a:noFill/>
          <a:ln w="9525">
            <a:noFill/>
            <a:miter lim="800000"/>
            <a:headEnd/>
            <a:tailEnd/>
          </a:ln>
          <a:effectLst/>
        </p:spPr>
        <p:txBody>
          <a:bodyPr lIns="0" anchor="b"/>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14309" eaLnBrk="1" hangingPunct="1">
              <a:spcBef>
                <a:spcPct val="20000"/>
              </a:spcBef>
              <a:buClr>
                <a:srgbClr val="000000"/>
              </a:buClr>
              <a:buFont typeface="Wingdings" charset="0"/>
              <a:buNone/>
              <a:defRPr/>
            </a:pPr>
            <a:r>
              <a:rPr lang="en-US" sz="1600" b="1" dirty="0">
                <a:solidFill>
                  <a:srgbClr val="000000"/>
                </a:solidFill>
                <a:latin typeface="Helvetica Neue" charset="0"/>
                <a:ea typeface="Helvetica Neue" charset="0"/>
                <a:cs typeface="Helvetica Neue" charset="0"/>
              </a:rPr>
              <a:t>IBM India Pvt. Ltd. </a:t>
            </a:r>
            <a:r>
              <a:rPr lang="mr-IN" sz="1600" b="1" dirty="0">
                <a:solidFill>
                  <a:srgbClr val="000000"/>
                </a:solidFill>
                <a:latin typeface="Helvetica Neue" charset="0"/>
                <a:ea typeface="Helvetica Neue" charset="0"/>
                <a:cs typeface="Helvetica Neue" charset="0"/>
              </a:rPr>
              <a:t>–</a:t>
            </a:r>
            <a:r>
              <a:rPr lang="en-US" sz="1600" b="1" dirty="0">
                <a:solidFill>
                  <a:srgbClr val="000000"/>
                </a:solidFill>
                <a:latin typeface="Helvetica Neue" charset="0"/>
                <a:ea typeface="Helvetica Neue" charset="0"/>
                <a:cs typeface="Helvetica Neue" charset="0"/>
              </a:rPr>
              <a:t> Industrial</a:t>
            </a:r>
          </a:p>
        </p:txBody>
      </p:sp>
      <p:sp>
        <p:nvSpPr>
          <p:cNvPr id="6"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xmlns="">
                <a:noFill/>
              </a14:hiddenFill>
            </a:ext>
          </a:extLst>
        </p:spPr>
        <p:txBody>
          <a:bodyPr/>
          <a:lstStyle/>
          <a:p>
            <a:pPr defTabSz="914309"/>
            <a:endParaRPr lang="en-US" sz="2533">
              <a:solidFill>
                <a:srgbClr val="000000"/>
              </a:solidFill>
              <a:latin typeface="Helvetica Neue" charset="0"/>
              <a:ea typeface="Helvetica Neue" charset="0"/>
              <a:cs typeface="Helvetica Neue" charset="0"/>
            </a:endParaRPr>
          </a:p>
        </p:txBody>
      </p:sp>
      <p:sp>
        <p:nvSpPr>
          <p:cNvPr id="21506" name="Rectangle 2"/>
          <p:cNvSpPr>
            <a:spLocks noGrp="1" noChangeArrowheads="1"/>
          </p:cNvSpPr>
          <p:nvPr>
            <p:ph type="ctrTitle"/>
          </p:nvPr>
        </p:nvSpPr>
        <p:spPr>
          <a:xfrm>
            <a:off x="345017" y="1809751"/>
            <a:ext cx="10911416" cy="1576388"/>
          </a:xfrm>
        </p:spPr>
        <p:txBody>
          <a:bodyPr anchor="b"/>
          <a:lstStyle>
            <a:lvl1pPr>
              <a:defRPr sz="4267">
                <a:latin typeface="HelvNeue Light for IBM" panose="020B0403020202020204" pitchFamily="34" charset="0"/>
                <a:ea typeface="HelvNeue Light for IBM" panose="020B0403020202020204" pitchFamily="34" charset="0"/>
                <a:cs typeface="HelvNeue Light for IBM" panose="020B0403020202020204" pitchFamily="34" charset="0"/>
              </a:defRPr>
            </a:lvl1pPr>
          </a:lstStyle>
          <a:p>
            <a:pPr lvl="0"/>
            <a:r>
              <a:rPr lang="en-US" noProof="0" dirty="0"/>
              <a:t>Click to edit Master title style</a:t>
            </a:r>
          </a:p>
        </p:txBody>
      </p:sp>
      <p:sp>
        <p:nvSpPr>
          <p:cNvPr id="8" name="Rectangle 143"/>
          <p:cNvSpPr>
            <a:spLocks noGrp="1" noChangeArrowheads="1"/>
          </p:cNvSpPr>
          <p:nvPr>
            <p:ph type="subTitle" idx="1"/>
          </p:nvPr>
        </p:nvSpPr>
        <p:spPr>
          <a:xfrm>
            <a:off x="355471" y="941419"/>
            <a:ext cx="10358967" cy="706967"/>
          </a:xfrm>
          <a:extLst>
            <a:ext uri="{909E8E84-426E-40dd-AFC4-6F175D3DCCD1}">
              <a14:hiddenFill xmlns:a14="http://schemas.microsoft.com/office/drawing/2010/main" xmlns="">
                <a:solidFill>
                  <a:srgbClr val="7889FB"/>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nchorCtr="0"/>
          <a:lstStyle>
            <a:lvl1pPr marL="0" indent="0" algn="l" rtl="0" eaLnBrk="1" fontAlgn="base" hangingPunct="1">
              <a:spcBef>
                <a:spcPct val="0"/>
              </a:spcBef>
              <a:spcAft>
                <a:spcPct val="0"/>
              </a:spcAft>
              <a:buClr>
                <a:srgbClr val="2DB6B3"/>
              </a:buClr>
              <a:buFont typeface="Wingdings" charset="0"/>
              <a:buNone/>
              <a:defRPr lang="en-US" sz="1600" kern="1200" noProof="0" dirty="0" smtClean="0">
                <a:solidFill>
                  <a:schemeClr val="tx1"/>
                </a:solidFill>
                <a:latin typeface="Helvetica Neue" charset="0"/>
                <a:ea typeface="Helvetica Neue" charset="0"/>
                <a:cs typeface="Helvetica Neue" charset="0"/>
              </a:defRPr>
            </a:lvl1pPr>
          </a:lstStyle>
          <a:p>
            <a:pPr lvl="0"/>
            <a:r>
              <a:rPr lang="en-US" noProof="0"/>
              <a:t>Click to edit Master subtitle style</a:t>
            </a:r>
            <a:endParaRPr lang="en-US" noProof="0" dirty="0"/>
          </a:p>
        </p:txBody>
      </p:sp>
      <p:pic>
        <p:nvPicPr>
          <p:cNvPr id="9" name="Picture 7" descr="ibm_sp_lockup_western-02"/>
          <p:cNvPicPr>
            <a:picLocks noChangeAspect="1" noChangeArrowheads="1"/>
          </p:cNvPicPr>
          <p:nvPr/>
        </p:nvPicPr>
        <p:blipFill>
          <a:blip r:embed="rId2" cstate="print">
            <a:extLst>
              <a:ext uri="{28A0092B-C50C-407E-A947-70E740481C1C}">
                <a14:useLocalDpi xmlns:a14="http://schemas.microsoft.com/office/drawing/2010/main" val="0"/>
              </a:ext>
            </a:extLst>
          </a:blip>
          <a:srcRect r="30696"/>
          <a:stretch>
            <a:fillRect/>
          </a:stretch>
        </p:blipFill>
        <p:spPr bwMode="auto">
          <a:xfrm>
            <a:off x="11082528" y="504382"/>
            <a:ext cx="758105"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p:cNvPicPr>
          <p:nvPr userDrawn="1"/>
        </p:nvPicPr>
        <p:blipFill rotWithShape="1">
          <a:blip r:embed="rId3"/>
          <a:srcRect t="26988"/>
          <a:stretch/>
        </p:blipFill>
        <p:spPr>
          <a:xfrm>
            <a:off x="345016" y="970901"/>
            <a:ext cx="11495617" cy="4459520"/>
          </a:xfrm>
          <a:prstGeom prst="rect">
            <a:avLst/>
          </a:prstGeom>
        </p:spPr>
      </p:pic>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atin typeface="Helvetica Neue" charset="0"/>
                <a:ea typeface="Helvetica Neue" charset="0"/>
                <a:cs typeface="Helvetica Neue"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sz="2200" b="1">
                <a:latin typeface="HelvNeue Light for IBM" panose="020B0403020202020204" pitchFamily="34" charset="0"/>
                <a:ea typeface="HelvNeue Light for IBM" panose="020B0403020202020204" pitchFamily="34" charset="0"/>
                <a:cs typeface="HelvNeue Light for IBM" panose="020B0403020202020204" pitchFamily="34" charset="0"/>
              </a:defRPr>
            </a:lvl1pPr>
            <a:lvl2pPr marL="228594" indent="-218012">
              <a:buFont typeface="Wingdings" charset="2"/>
              <a:buChar char="§"/>
              <a:tabLst/>
              <a:defRPr sz="2000">
                <a:latin typeface="HelvNeue Light for IBM" panose="020B0403020202020204" pitchFamily="34" charset="0"/>
                <a:ea typeface="HelvNeue Light for IBM" panose="020B0403020202020204" pitchFamily="34" charset="0"/>
                <a:cs typeface="HelvNeue Light for IBM" panose="020B0403020202020204" pitchFamily="34" charset="0"/>
              </a:defRPr>
            </a:lvl2pPr>
            <a:lvl3pPr marL="543970" indent="-243411">
              <a:tabLst/>
              <a:defRPr sz="2000">
                <a:latin typeface="HelvNeue Light for IBM" panose="020B0403020202020204" pitchFamily="34" charset="0"/>
                <a:ea typeface="HelvNeue Light for IBM" panose="020B0403020202020204" pitchFamily="34" charset="0"/>
                <a:cs typeface="HelvNeue Light for IBM" panose="020B0403020202020204" pitchFamily="34" charset="0"/>
              </a:defRPr>
            </a:lvl3pPr>
            <a:lvl4pPr marL="846646" indent="-230712">
              <a:tabLst/>
              <a:defRPr sz="2000">
                <a:latin typeface="HelvNeue Light for IBM" panose="020B0403020202020204" pitchFamily="34" charset="0"/>
                <a:ea typeface="HelvNeue Light for IBM" panose="020B0403020202020204" pitchFamily="34" charset="0"/>
                <a:cs typeface="HelvNeue Light for IBM" panose="020B0403020202020204" pitchFamily="34" charset="0"/>
              </a:defRPr>
            </a:lvl4pPr>
            <a:lvl5pPr marL="1075240" indent="-228594">
              <a:tabLst/>
              <a:defRPr sz="2000">
                <a:latin typeface="HelvNeue Light for IBM" panose="020B0403020202020204" pitchFamily="34" charset="0"/>
                <a:ea typeface="HelvNeue Light for IBM" panose="020B0403020202020204" pitchFamily="34" charset="0"/>
                <a:cs typeface="HelvNeue Light for IBM"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7"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0" name="Picture 46" descr="blue-tri-color-logo"/>
          <p:cNvPicPr>
            <a:picLocks noChangeAspect="1" noChangeArrowheads="1"/>
          </p:cNvPicPr>
          <p:nvPr userDrawn="1"/>
        </p:nvPicPr>
        <p:blipFill>
          <a:blip r:embed="rId3"/>
          <a:srcRect/>
          <a:stretch>
            <a:fillRect/>
          </a:stretch>
        </p:blipFill>
        <p:spPr bwMode="auto">
          <a:xfrm>
            <a:off x="11216218" y="6354233"/>
            <a:ext cx="626533" cy="254000"/>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451104" y="2795587"/>
            <a:ext cx="11411712" cy="886397"/>
          </a:xfrm>
        </p:spPr>
        <p:txBody>
          <a:bodyPr anchor="b" anchorCtr="0"/>
          <a:lstStyle>
            <a:lvl1pPr>
              <a:defRPr sz="6400">
                <a:solidFill>
                  <a:srgbClr val="00B0DA"/>
                </a:solidFill>
              </a:defRPr>
            </a:lvl1pPr>
          </a:lstStyle>
          <a:p>
            <a:r>
              <a:rPr lang="en-US" dirty="0"/>
              <a:t>IBM Presentation Title</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green-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8CC63F"/>
                </a:solidFill>
              </a:defRPr>
            </a:lvl1pPr>
          </a:lstStyle>
          <a:p>
            <a:r>
              <a:rPr lang="en-US" dirty="0"/>
              <a:t>IBM Presentation Title</a:t>
            </a: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teal-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00A6A0"/>
                </a:solidFill>
              </a:defRPr>
            </a:lvl1pPr>
          </a:lstStyle>
          <a:p>
            <a:r>
              <a:rPr lang="en-US" dirty="0"/>
              <a:t>IBM Presentation Title</a:t>
            </a: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yellow-tri-color-logo"/>
          <p:cNvPicPr>
            <a:picLocks noChangeAspect="1" noChangeArrowheads="1"/>
          </p:cNvPicPr>
          <p:nvPr userDrawn="1"/>
        </p:nvPicPr>
        <p:blipFill>
          <a:blip r:embed="rId3"/>
          <a:srcRect/>
          <a:stretch>
            <a:fillRect/>
          </a:stretch>
        </p:blipFill>
        <p:spPr bwMode="auto">
          <a:xfrm>
            <a:off x="11216640" y="6354234"/>
            <a:ext cx="618744" cy="254127"/>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DB813"/>
                </a:solidFill>
              </a:defRPr>
            </a:lvl1pPr>
          </a:lstStyle>
          <a:p>
            <a:r>
              <a:rPr lang="en-US" dirty="0"/>
              <a:t>IBM Presentation Title</a:t>
            </a: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orange-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19027"/>
                </a:solidFill>
              </a:defRPr>
            </a:lvl1pPr>
          </a:lstStyle>
          <a:p>
            <a:r>
              <a:rPr lang="en-US" dirty="0"/>
              <a:t>IBM Presentation Title</a:t>
            </a: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red-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04E37"/>
                </a:solidFill>
              </a:defRPr>
            </a:lvl1pPr>
          </a:lstStyle>
          <a:p>
            <a:r>
              <a:rPr lang="en-US" dirty="0"/>
              <a:t>IBM Presentation Title</a:t>
            </a: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pic>
        <p:nvPicPr>
          <p:cNvPr id="16" name="Picture 5" descr="purple-tri-color-logo"/>
          <p:cNvPicPr>
            <a:picLocks noChangeAspect="1" noChangeArrowheads="1"/>
          </p:cNvPicPr>
          <p:nvPr userDrawn="1"/>
        </p:nvPicPr>
        <p:blipFill>
          <a:blip r:embed="rId2"/>
          <a:srcRect/>
          <a:stretch>
            <a:fillRect/>
          </a:stretch>
        </p:blipFill>
        <p:spPr bwMode="auto">
          <a:xfrm>
            <a:off x="11216640" y="6354235"/>
            <a:ext cx="618744" cy="250444"/>
          </a:xfrm>
          <a:prstGeom prst="rect">
            <a:avLst/>
          </a:prstGeom>
          <a:noFill/>
          <a:ln w="9525">
            <a:noFill/>
            <a:miter lim="800000"/>
            <a:headEnd/>
            <a:tailEnd/>
          </a:ln>
        </p:spPr>
      </p:pic>
      <p:pic>
        <p:nvPicPr>
          <p:cNvPr id="12" name="Picture 44" descr="cover-wallerpaper"/>
          <p:cNvPicPr>
            <a:picLocks noChangeAspect="1" noChangeArrowheads="1"/>
          </p:cNvPicPr>
          <p:nvPr userDrawn="1"/>
        </p:nvPicPr>
        <p:blipFill>
          <a:blip r:embed="rId3" cstate="print"/>
          <a:srcRect/>
          <a:stretch>
            <a:fillRect/>
          </a:stretch>
        </p:blipFill>
        <p:spPr bwMode="auto">
          <a:xfrm>
            <a:off x="0" y="-57151"/>
            <a:ext cx="12192000" cy="5666317"/>
          </a:xfrm>
          <a:prstGeom prst="rect">
            <a:avLst/>
          </a:prstGeom>
          <a:noFill/>
          <a:ln w="9525">
            <a:noFill/>
            <a:miter lim="800000"/>
            <a:headEnd/>
            <a:tailEnd/>
          </a:ln>
        </p:spPr>
      </p:pic>
      <p:sp>
        <p:nvSpPr>
          <p:cNvPr id="17"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8"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9" name="Title 8"/>
          <p:cNvSpPr>
            <a:spLocks noGrp="1"/>
          </p:cNvSpPr>
          <p:nvPr>
            <p:ph type="title" hasCustomPrompt="1"/>
          </p:nvPr>
        </p:nvSpPr>
        <p:spPr>
          <a:xfrm>
            <a:off x="451104" y="2779173"/>
            <a:ext cx="11411712" cy="902811"/>
          </a:xfrm>
        </p:spPr>
        <p:txBody>
          <a:bodyPr anchor="b" anchorCtr="0"/>
          <a:lstStyle>
            <a:lvl1pPr>
              <a:defRPr sz="6400">
                <a:solidFill>
                  <a:srgbClr val="AB1A86"/>
                </a:solidFill>
              </a:defRPr>
            </a:lvl1pPr>
          </a:lstStyle>
          <a:p>
            <a:r>
              <a:rPr lang="en-US" dirty="0"/>
              <a:t>IBM Presentation Title</a:t>
            </a:r>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1">
    <p:bg>
      <p:bgPr>
        <a:solidFill>
          <a:srgbClr val="00B0DA"/>
        </a:solidFill>
        <a:effectLst/>
      </p:bgPr>
    </p:bg>
    <p:spTree>
      <p:nvGrpSpPr>
        <p:cNvPr id="1" name=""/>
        <p:cNvGrpSpPr/>
        <p:nvPr/>
      </p:nvGrpSpPr>
      <p:grpSpPr>
        <a:xfrm>
          <a:off x="0" y="0"/>
          <a:ext cx="0" cy="0"/>
          <a:chOff x="0" y="0"/>
          <a:chExt cx="0" cy="0"/>
        </a:xfrm>
      </p:grpSpPr>
      <p:pic>
        <p:nvPicPr>
          <p:cNvPr id="10"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1"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2"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10FDDEA-ADCC-AE4C-A94E-1E3AB4C4CF7B}" type="datetimeFigureOut">
              <a:rPr lang="en-US" smtClean="0"/>
              <a:t>8/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86709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2">
    <p:bg>
      <p:bgPr>
        <a:solidFill>
          <a:srgbClr val="8CC63F"/>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7"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8"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3">
    <p:bg>
      <p:bgPr>
        <a:solidFill>
          <a:srgbClr val="00A6A0"/>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0"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1"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4">
    <p:bg>
      <p:bgPr>
        <a:solidFill>
          <a:srgbClr val="FDB813"/>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5">
    <p:bg>
      <p:bgPr>
        <a:solidFill>
          <a:srgbClr val="F19027"/>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6">
    <p:bg>
      <p:bgPr>
        <a:solidFill>
          <a:srgbClr val="F04E37"/>
        </a:solidFill>
        <a:effectLst/>
      </p:bgPr>
    </p:bg>
    <p:spTree>
      <p:nvGrpSpPr>
        <p:cNvPr id="1" name=""/>
        <p:cNvGrpSpPr/>
        <p:nvPr/>
      </p:nvGrpSpPr>
      <p:grpSpPr>
        <a:xfrm>
          <a:off x="0" y="0"/>
          <a:ext cx="0" cy="0"/>
          <a:chOff x="0" y="0"/>
          <a:chExt cx="0" cy="0"/>
        </a:xfrm>
      </p:grpSpPr>
      <p:pic>
        <p:nvPicPr>
          <p:cNvPr id="8"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0"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1"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7">
    <p:bg>
      <p:bgPr>
        <a:solidFill>
          <a:srgbClr val="AB1A86"/>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of contents/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1" y="292100"/>
            <a:ext cx="11582400" cy="526640"/>
          </a:xfrm>
        </p:spPr>
        <p:txBody>
          <a:bodyPr/>
          <a:lstStyle>
            <a:lvl1pPr marL="0" marR="0" indent="0" algn="l" defTabSz="1219170" rtl="0" eaLnBrk="1" fontAlgn="base" latinLnBrk="0" hangingPunct="1">
              <a:lnSpc>
                <a:spcPct val="90000"/>
              </a:lnSpc>
              <a:spcBef>
                <a:spcPct val="0"/>
              </a:spcBef>
              <a:spcAft>
                <a:spcPct val="0"/>
              </a:spcAft>
              <a:buClrTx/>
              <a:buSzTx/>
              <a:buFontTx/>
              <a:buNone/>
              <a:tabLst/>
              <a:defRPr/>
            </a:lvl1pPr>
          </a:lstStyle>
          <a:p>
            <a:r>
              <a:rPr lang="en-US" dirty="0"/>
              <a:t>Table of contents/Agenda template</a:t>
            </a:r>
          </a:p>
        </p:txBody>
      </p:sp>
      <p:sp>
        <p:nvSpPr>
          <p:cNvPr id="3" name="Slide Number Placeholder 2"/>
          <p:cNvSpPr>
            <a:spLocks noGrp="1"/>
          </p:cNvSpPr>
          <p:nvPr>
            <p:ph type="sldNum" sz="quarter" idx="10"/>
          </p:nvPr>
        </p:nvSpPr>
        <p:spPr>
          <a:xfrm>
            <a:off x="438153" y="6524625"/>
            <a:ext cx="2832100" cy="228600"/>
          </a:xfrm>
          <a:prstGeom prst="rect">
            <a:avLst/>
          </a:prstGeom>
        </p:spPr>
        <p:txBody>
          <a:bodyPr/>
          <a:lstStyle/>
          <a:p>
            <a:pPr defTabSz="914309"/>
            <a:fld id="{92EDDE8C-FCD3-47EF-B8D4-5308179AEE2C}" type="slidenum">
              <a:rPr lang="en-US" sz="1900" smtClean="0">
                <a:solidFill>
                  <a:srgbClr val="000000"/>
                </a:solidFill>
              </a:rPr>
              <a:pPr defTabSz="914309"/>
              <a:t>‹#›</a:t>
            </a:fld>
            <a:endParaRPr lang="en-US" sz="1900" dirty="0">
              <a:solidFill>
                <a:srgbClr val="000000"/>
              </a:solidFill>
            </a:endParaRPr>
          </a:p>
        </p:txBody>
      </p:sp>
      <p:sp>
        <p:nvSpPr>
          <p:cNvPr id="8" name="Text Placeholder 6"/>
          <p:cNvSpPr>
            <a:spLocks noGrp="1"/>
          </p:cNvSpPr>
          <p:nvPr>
            <p:ph type="body" sz="quarter" idx="12" hasCustomPrompt="1"/>
          </p:nvPr>
        </p:nvSpPr>
        <p:spPr>
          <a:xfrm>
            <a:off x="4218433" y="1828800"/>
            <a:ext cx="7583793" cy="4114800"/>
          </a:xfrm>
        </p:spPr>
        <p:txBody>
          <a:bodyPr lIns="0" tIns="91440" bIns="0"/>
          <a:lstStyle>
            <a:lvl1pPr marL="0" indent="0">
              <a:lnSpc>
                <a:spcPts val="1733"/>
              </a:lnSpc>
              <a:spcBef>
                <a:spcPts val="1440"/>
              </a:spcBef>
              <a:buNone/>
              <a:defRPr sz="1600"/>
            </a:lvl1pPr>
          </a:lstStyle>
          <a:p>
            <a:pPr lvl="0"/>
            <a:r>
              <a:rPr lang="en-US" dirty="0"/>
              <a:t>Note that the contents/agenda items are written in sentence case</a:t>
            </a:r>
          </a:p>
          <a:p>
            <a:pPr lvl="0"/>
            <a:r>
              <a:rPr lang="en-US" dirty="0"/>
              <a:t>Title the page “Table of contents” if the document is meant to be read or is a “leave behind.” Use “Agenda” if the document will be presented formally</a:t>
            </a:r>
          </a:p>
          <a:p>
            <a:pPr lvl="0"/>
            <a:r>
              <a:rPr lang="en-US" dirty="0"/>
              <a:t>This page should appear at the beginning of each section, with the highlighted section appearing in blue and bold</a:t>
            </a:r>
          </a:p>
        </p:txBody>
      </p:sp>
      <p:sp>
        <p:nvSpPr>
          <p:cNvPr id="13" name="Text Placeholder 12"/>
          <p:cNvSpPr>
            <a:spLocks noGrp="1"/>
          </p:cNvSpPr>
          <p:nvPr>
            <p:ph type="body" sz="quarter" idx="13" hasCustomPrompt="1"/>
          </p:nvPr>
        </p:nvSpPr>
        <p:spPr>
          <a:xfrm>
            <a:off x="438912" y="1828800"/>
            <a:ext cx="3657600" cy="4114800"/>
          </a:xfrm>
        </p:spPr>
        <p:txBody>
          <a:bodyPr/>
          <a:lstStyle>
            <a:lvl1pPr marL="0" indent="0">
              <a:buNone/>
              <a:defRPr sz="2400"/>
            </a:lvl1pPr>
          </a:lstStyle>
          <a:p>
            <a:pPr lvl="0"/>
            <a:r>
              <a:rPr lang="en-US" dirty="0"/>
              <a:t>Content heading</a:t>
            </a:r>
          </a:p>
        </p:txBody>
      </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tIns="914400" anchor="ctr" anchorCtr="0"/>
          <a:lstStyle>
            <a:lvl1pPr algn="ctr">
              <a:buNone/>
              <a:defRPr/>
            </a:lvl1pPr>
          </a:lstStyle>
          <a:p>
            <a:endParaRPr lang="en-US" dirty="0"/>
          </a:p>
        </p:txBody>
      </p:sp>
      <p:sp>
        <p:nvSpPr>
          <p:cNvPr id="2" name="Title 1"/>
          <p:cNvSpPr>
            <a:spLocks noGrp="1"/>
          </p:cNvSpPr>
          <p:nvPr>
            <p:ph type="title" hasCustomPrompt="1"/>
          </p:nvPr>
        </p:nvSpPr>
        <p:spPr>
          <a:xfrm>
            <a:off x="438151" y="5440680"/>
            <a:ext cx="11338560" cy="526640"/>
          </a:xfrm>
        </p:spPr>
        <p:txBody>
          <a:bodyPr/>
          <a:lstStyle>
            <a:lvl1pPr>
              <a:defRPr>
                <a:solidFill>
                  <a:srgbClr val="FDB813"/>
                </a:solidFill>
              </a:defRPr>
            </a:lvl1pPr>
          </a:lstStyle>
          <a:p>
            <a:r>
              <a:rPr lang="en-US" dirty="0"/>
              <a:t>Full bleed images preferred</a:t>
            </a:r>
          </a:p>
        </p:txBody>
      </p:sp>
      <p:sp>
        <p:nvSpPr>
          <p:cNvPr id="8" name="Text Placeholder 7"/>
          <p:cNvSpPr>
            <a:spLocks noGrp="1"/>
          </p:cNvSpPr>
          <p:nvPr>
            <p:ph type="body" sz="quarter" idx="10" hasCustomPrompt="1"/>
          </p:nvPr>
        </p:nvSpPr>
        <p:spPr>
          <a:xfrm>
            <a:off x="438912" y="5989320"/>
            <a:ext cx="11338560" cy="731520"/>
          </a:xfrm>
        </p:spPr>
        <p:txBody>
          <a:bodyPr/>
          <a:lstStyle>
            <a:lvl1pPr marL="0" indent="0">
              <a:buNone/>
              <a:defRPr lang="en-US" sz="2133" kern="1200" dirty="0" smtClean="0">
                <a:solidFill>
                  <a:srgbClr val="6D6E70"/>
                </a:solidFill>
                <a:latin typeface="Arial" pitchFamily="34" charset="0"/>
                <a:ea typeface="+mn-ea"/>
                <a:cs typeface="Arial" pitchFamily="34" charset="0"/>
              </a:defRPr>
            </a:lvl1pPr>
          </a:lstStyle>
          <a:p>
            <a:pPr marL="0" lvl="0" indent="0" algn="l" rtl="0" fontAlgn="base">
              <a:spcBef>
                <a:spcPct val="50000"/>
              </a:spcBef>
              <a:spcAft>
                <a:spcPct val="0"/>
              </a:spcAft>
              <a:buClr>
                <a:srgbClr val="6D6E70"/>
              </a:buClr>
              <a:buSzPct val="90000"/>
              <a:buFont typeface="Wingdings" pitchFamily="2" charset="2"/>
              <a:buNone/>
            </a:pPr>
            <a:r>
              <a:rPr lang="en-US" dirty="0"/>
              <a:t>Text over top of full bleed images would be in white or a color from the color palette that would offer good contrast. Also, colored text in Arial Bold would have greater impact.</a:t>
            </a: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12192000" cy="4526280"/>
          </a:xfrm>
        </p:spPr>
        <p:txBody>
          <a:bodyPr tIns="914400" anchor="ctr" anchorCtr="0"/>
          <a:lstStyle>
            <a:lvl1pPr algn="ctr">
              <a:buNone/>
              <a:defRPr/>
            </a:lvl1pPr>
          </a:lstStyle>
          <a:p>
            <a:endParaRPr lang="en-US"/>
          </a:p>
        </p:txBody>
      </p:sp>
      <p:sp>
        <p:nvSpPr>
          <p:cNvPr id="2" name="Title 1"/>
          <p:cNvSpPr>
            <a:spLocks noGrp="1"/>
          </p:cNvSpPr>
          <p:nvPr>
            <p:ph type="title" hasCustomPrompt="1"/>
          </p:nvPr>
        </p:nvSpPr>
        <p:spPr>
          <a:xfrm>
            <a:off x="487680" y="5257802"/>
            <a:ext cx="11338560" cy="300937"/>
          </a:xfrm>
        </p:spPr>
        <p:txBody>
          <a:bodyPr/>
          <a:lstStyle>
            <a:lvl1pPr>
              <a:defRPr sz="2133">
                <a:solidFill>
                  <a:srgbClr val="00B0DA"/>
                </a:solidFill>
              </a:defRPr>
            </a:lvl1pPr>
          </a:lstStyle>
          <a:p>
            <a:r>
              <a:rPr lang="en-US" dirty="0"/>
              <a:t>Images also have more impact if they can bleed 3 sides</a:t>
            </a:r>
          </a:p>
        </p:txBody>
      </p:sp>
      <p:sp>
        <p:nvSpPr>
          <p:cNvPr id="6" name="Text Placeholder 5"/>
          <p:cNvSpPr>
            <a:spLocks noGrp="1"/>
          </p:cNvSpPr>
          <p:nvPr>
            <p:ph type="body" sz="quarter" idx="10" hasCustomPrompt="1"/>
          </p:nvPr>
        </p:nvSpPr>
        <p:spPr>
          <a:xfrm>
            <a:off x="487680" y="5532120"/>
            <a:ext cx="9753600" cy="914400"/>
          </a:xfrm>
        </p:spPr>
        <p:txBody>
          <a:bodyPr/>
          <a:lstStyle>
            <a:lvl1pPr marL="0" indent="0">
              <a:buNone/>
              <a:defRPr kern="1200">
                <a:solidFill>
                  <a:srgbClr val="6D6E70"/>
                </a:solidFill>
              </a:defRPr>
            </a:lvl1pPr>
          </a:lstStyle>
          <a:p>
            <a:pPr lvl="0"/>
            <a:r>
              <a:rPr lang="en-US" dirty="0"/>
              <a:t>Text under partial bleed images would be in 70% black or a color from the color palette. Also, colored text in Arial Bold would have greater impact. </a:t>
            </a:r>
          </a:p>
        </p:txBody>
      </p:sp>
      <p:sp>
        <p:nvSpPr>
          <p:cNvPr id="7" name="Slide Number Placeholder 6"/>
          <p:cNvSpPr>
            <a:spLocks noGrp="1"/>
          </p:cNvSpPr>
          <p:nvPr>
            <p:ph type="sldNum" sz="quarter" idx="11"/>
          </p:nvPr>
        </p:nvSpPr>
        <p:spPr>
          <a:xfrm>
            <a:off x="438153" y="6524625"/>
            <a:ext cx="2832100" cy="228600"/>
          </a:xfrm>
          <a:prstGeom prst="rect">
            <a:avLst/>
          </a:prstGeom>
        </p:spPr>
        <p:txBody>
          <a:bodyPr/>
          <a:lstStyle/>
          <a:p>
            <a:pPr defTabSz="914309"/>
            <a:fld id="{92EDDE8C-FCD3-47EF-B8D4-5308179AEE2C}" type="slidenum">
              <a:rPr lang="en-US" sz="1900" smtClean="0">
                <a:solidFill>
                  <a:srgbClr val="000000"/>
                </a:solidFill>
              </a:rPr>
              <a:pPr defTabSz="914309"/>
              <a:t>‹#›</a:t>
            </a:fld>
            <a:endParaRPr lang="en-US" sz="1900" dirty="0">
              <a:solidFill>
                <a:srgbClr val="000000"/>
              </a:solidFill>
            </a:endParaRP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pic>
        <p:nvPicPr>
          <p:cNvPr id="7"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0" name="Picture 46" descr="blue-tri-color-logo"/>
          <p:cNvPicPr>
            <a:picLocks noChangeAspect="1" noChangeArrowheads="1"/>
          </p:cNvPicPr>
          <p:nvPr userDrawn="1"/>
        </p:nvPicPr>
        <p:blipFill>
          <a:blip r:embed="rId3"/>
          <a:srcRect/>
          <a:stretch>
            <a:fillRect/>
          </a:stretch>
        </p:blipFill>
        <p:spPr bwMode="auto">
          <a:xfrm>
            <a:off x="11216218" y="6354233"/>
            <a:ext cx="626533" cy="254000"/>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451104" y="2795587"/>
            <a:ext cx="11411712" cy="886397"/>
          </a:xfrm>
        </p:spPr>
        <p:txBody>
          <a:bodyPr anchor="b" anchorCtr="0"/>
          <a:lstStyle>
            <a:lvl1pPr>
              <a:defRPr sz="6400">
                <a:solidFill>
                  <a:srgbClr val="00B0DA"/>
                </a:solidFill>
              </a:defRPr>
            </a:lvl1pPr>
          </a:lstStyle>
          <a:p>
            <a:r>
              <a:rPr lang="en-US" dirty="0"/>
              <a:t>IBM Presentation Title</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10FDDEA-ADCC-AE4C-A94E-1E3AB4C4CF7B}" type="datetimeFigureOut">
              <a:rPr lang="en-US" smtClean="0"/>
              <a:t>8/3/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3287378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green-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8CC63F"/>
                </a:solidFill>
              </a:defRPr>
            </a:lvl1pPr>
          </a:lstStyle>
          <a:p>
            <a:r>
              <a:rPr lang="en-US" dirty="0"/>
              <a:t>IBM Presentation Title</a:t>
            </a:r>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teal-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00A6A0"/>
                </a:solidFill>
              </a:defRPr>
            </a:lvl1pPr>
          </a:lstStyle>
          <a:p>
            <a:r>
              <a:rPr lang="en-US" dirty="0"/>
              <a:t>IBM Presentation Title</a:t>
            </a: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4">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yellow-tri-color-logo"/>
          <p:cNvPicPr>
            <a:picLocks noChangeAspect="1" noChangeArrowheads="1"/>
          </p:cNvPicPr>
          <p:nvPr userDrawn="1"/>
        </p:nvPicPr>
        <p:blipFill>
          <a:blip r:embed="rId3"/>
          <a:srcRect/>
          <a:stretch>
            <a:fillRect/>
          </a:stretch>
        </p:blipFill>
        <p:spPr bwMode="auto">
          <a:xfrm>
            <a:off x="11216640" y="6354234"/>
            <a:ext cx="618744" cy="254127"/>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DB813"/>
                </a:solidFill>
              </a:defRPr>
            </a:lvl1pPr>
          </a:lstStyle>
          <a:p>
            <a:r>
              <a:rPr lang="en-US" dirty="0"/>
              <a:t>IBM Presentation Title</a:t>
            </a: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5">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orange-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19027"/>
                </a:solidFill>
              </a:defRPr>
            </a:lvl1pPr>
          </a:lstStyle>
          <a:p>
            <a:r>
              <a:rPr lang="en-US" dirty="0"/>
              <a:t>IBM Presentation Title</a:t>
            </a:r>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6">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print"/>
          <a:srcRect/>
          <a:stretch>
            <a:fillRect/>
          </a:stretch>
        </p:blipFill>
        <p:spPr bwMode="auto">
          <a:xfrm>
            <a:off x="0" y="-57151"/>
            <a:ext cx="12192000" cy="5666317"/>
          </a:xfrm>
          <a:prstGeom prst="rect">
            <a:avLst/>
          </a:prstGeom>
          <a:noFill/>
          <a:ln w="9525">
            <a:noFill/>
            <a:miter lim="800000"/>
            <a:headEnd/>
            <a:tailEnd/>
          </a:ln>
        </p:spPr>
      </p:pic>
      <p:pic>
        <p:nvPicPr>
          <p:cNvPr id="11" name="Picture 5" descr="red-tri-color-logo"/>
          <p:cNvPicPr>
            <a:picLocks noChangeAspect="1" noChangeArrowheads="1"/>
          </p:cNvPicPr>
          <p:nvPr userDrawn="1"/>
        </p:nvPicPr>
        <p:blipFill>
          <a:blip r:embed="rId3"/>
          <a:srcRect/>
          <a:stretch>
            <a:fillRect/>
          </a:stretch>
        </p:blipFill>
        <p:spPr bwMode="auto">
          <a:xfrm>
            <a:off x="11216640" y="6354235"/>
            <a:ext cx="618744" cy="250444"/>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3"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4" name="Title 8"/>
          <p:cNvSpPr>
            <a:spLocks noGrp="1"/>
          </p:cNvSpPr>
          <p:nvPr>
            <p:ph type="title" hasCustomPrompt="1"/>
          </p:nvPr>
        </p:nvSpPr>
        <p:spPr>
          <a:xfrm>
            <a:off x="451104" y="2779173"/>
            <a:ext cx="11411712" cy="902811"/>
          </a:xfrm>
        </p:spPr>
        <p:txBody>
          <a:bodyPr anchor="b" anchorCtr="0"/>
          <a:lstStyle>
            <a:lvl1pPr>
              <a:defRPr sz="6400">
                <a:solidFill>
                  <a:srgbClr val="F04E37"/>
                </a:solidFill>
              </a:defRPr>
            </a:lvl1pPr>
          </a:lstStyle>
          <a:p>
            <a:r>
              <a:rPr lang="en-US" dirty="0"/>
              <a:t>IBM Presentation Title</a:t>
            </a:r>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 7">
    <p:spTree>
      <p:nvGrpSpPr>
        <p:cNvPr id="1" name=""/>
        <p:cNvGrpSpPr/>
        <p:nvPr/>
      </p:nvGrpSpPr>
      <p:grpSpPr>
        <a:xfrm>
          <a:off x="0" y="0"/>
          <a:ext cx="0" cy="0"/>
          <a:chOff x="0" y="0"/>
          <a:chExt cx="0" cy="0"/>
        </a:xfrm>
      </p:grpSpPr>
      <p:pic>
        <p:nvPicPr>
          <p:cNvPr id="16" name="Picture 5" descr="purple-tri-color-logo"/>
          <p:cNvPicPr>
            <a:picLocks noChangeAspect="1" noChangeArrowheads="1"/>
          </p:cNvPicPr>
          <p:nvPr userDrawn="1"/>
        </p:nvPicPr>
        <p:blipFill>
          <a:blip r:embed="rId2"/>
          <a:srcRect/>
          <a:stretch>
            <a:fillRect/>
          </a:stretch>
        </p:blipFill>
        <p:spPr bwMode="auto">
          <a:xfrm>
            <a:off x="11216640" y="6354235"/>
            <a:ext cx="618744" cy="250444"/>
          </a:xfrm>
          <a:prstGeom prst="rect">
            <a:avLst/>
          </a:prstGeom>
          <a:noFill/>
          <a:ln w="9525">
            <a:noFill/>
            <a:miter lim="800000"/>
            <a:headEnd/>
            <a:tailEnd/>
          </a:ln>
        </p:spPr>
      </p:pic>
      <p:pic>
        <p:nvPicPr>
          <p:cNvPr id="12" name="Picture 44" descr="cover-wallerpaper"/>
          <p:cNvPicPr>
            <a:picLocks noChangeAspect="1" noChangeArrowheads="1"/>
          </p:cNvPicPr>
          <p:nvPr userDrawn="1"/>
        </p:nvPicPr>
        <p:blipFill>
          <a:blip r:embed="rId3" cstate="print"/>
          <a:srcRect/>
          <a:stretch>
            <a:fillRect/>
          </a:stretch>
        </p:blipFill>
        <p:spPr bwMode="auto">
          <a:xfrm>
            <a:off x="0" y="-57151"/>
            <a:ext cx="12192000" cy="5666317"/>
          </a:xfrm>
          <a:prstGeom prst="rect">
            <a:avLst/>
          </a:prstGeom>
          <a:noFill/>
          <a:ln w="9525">
            <a:noFill/>
            <a:miter lim="800000"/>
            <a:headEnd/>
            <a:tailEnd/>
          </a:ln>
        </p:spPr>
      </p:pic>
      <p:sp>
        <p:nvSpPr>
          <p:cNvPr id="17"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18"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19" name="Title 8"/>
          <p:cNvSpPr>
            <a:spLocks noGrp="1"/>
          </p:cNvSpPr>
          <p:nvPr>
            <p:ph type="title" hasCustomPrompt="1"/>
          </p:nvPr>
        </p:nvSpPr>
        <p:spPr>
          <a:xfrm>
            <a:off x="451104" y="2779173"/>
            <a:ext cx="11411712" cy="902811"/>
          </a:xfrm>
        </p:spPr>
        <p:txBody>
          <a:bodyPr anchor="b" anchorCtr="0"/>
          <a:lstStyle>
            <a:lvl1pPr>
              <a:defRPr sz="6400">
                <a:solidFill>
                  <a:srgbClr val="AB1A86"/>
                </a:solidFill>
              </a:defRPr>
            </a:lvl1pPr>
          </a:lstStyle>
          <a:p>
            <a:r>
              <a:rPr lang="en-US" dirty="0"/>
              <a:t>IBM Presentation Title</a:t>
            </a: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1">
    <p:bg>
      <p:bgPr>
        <a:solidFill>
          <a:srgbClr val="00B0DA"/>
        </a:solidFill>
        <a:effectLst/>
      </p:bgPr>
    </p:bg>
    <p:spTree>
      <p:nvGrpSpPr>
        <p:cNvPr id="1" name=""/>
        <p:cNvGrpSpPr/>
        <p:nvPr/>
      </p:nvGrpSpPr>
      <p:grpSpPr>
        <a:xfrm>
          <a:off x="0" y="0"/>
          <a:ext cx="0" cy="0"/>
          <a:chOff x="0" y="0"/>
          <a:chExt cx="0" cy="0"/>
        </a:xfrm>
      </p:grpSpPr>
      <p:pic>
        <p:nvPicPr>
          <p:cNvPr id="10"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1"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2"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2">
    <p:bg>
      <p:bgPr>
        <a:solidFill>
          <a:srgbClr val="8CC63F"/>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7"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8"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3">
    <p:bg>
      <p:bgPr>
        <a:solidFill>
          <a:srgbClr val="00A6A0"/>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0"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1"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4">
    <p:bg>
      <p:bgPr>
        <a:solidFill>
          <a:srgbClr val="FDB813"/>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10FDDEA-ADCC-AE4C-A94E-1E3AB4C4CF7B}" type="datetimeFigureOut">
              <a:rPr lang="en-US" smtClean="0"/>
              <a:t>8/3/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4138098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5">
    <p:bg>
      <p:bgPr>
        <a:solidFill>
          <a:srgbClr val="F19027"/>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6">
    <p:bg>
      <p:bgPr>
        <a:solidFill>
          <a:srgbClr val="F04E37"/>
        </a:solidFill>
        <a:effectLst/>
      </p:bgPr>
    </p:bg>
    <p:spTree>
      <p:nvGrpSpPr>
        <p:cNvPr id="1" name=""/>
        <p:cNvGrpSpPr/>
        <p:nvPr/>
      </p:nvGrpSpPr>
      <p:grpSpPr>
        <a:xfrm>
          <a:off x="0" y="0"/>
          <a:ext cx="0" cy="0"/>
          <a:chOff x="0" y="0"/>
          <a:chExt cx="0" cy="0"/>
        </a:xfrm>
      </p:grpSpPr>
      <p:pic>
        <p:nvPicPr>
          <p:cNvPr id="8"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10"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1"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Section Page Slide 7">
    <p:bg>
      <p:bgPr>
        <a:solidFill>
          <a:srgbClr val="AB1A86"/>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a:srcRect/>
          <a:stretch>
            <a:fillRect/>
          </a:stretch>
        </p:blipFill>
        <p:spPr bwMode="auto">
          <a:xfrm>
            <a:off x="0" y="0"/>
            <a:ext cx="12270317" cy="5623984"/>
          </a:xfrm>
          <a:prstGeom prst="rect">
            <a:avLst/>
          </a:prstGeom>
          <a:noFill/>
          <a:ln w="9525">
            <a:noFill/>
            <a:miter lim="800000"/>
            <a:headEnd/>
            <a:tailEnd/>
          </a:ln>
        </p:spPr>
      </p:pic>
      <p:sp>
        <p:nvSpPr>
          <p:cNvPr id="8" name="Title 8"/>
          <p:cNvSpPr>
            <a:spLocks noGrp="1"/>
          </p:cNvSpPr>
          <p:nvPr>
            <p:ph type="title" hasCustomPrompt="1"/>
          </p:nvPr>
        </p:nvSpPr>
        <p:spPr>
          <a:xfrm>
            <a:off x="451104" y="1487424"/>
            <a:ext cx="11411712" cy="2194560"/>
          </a:xfrm>
        </p:spPr>
        <p:txBody>
          <a:bodyPr anchor="b" anchorCtr="0">
            <a:noAutofit/>
          </a:bodyPr>
          <a:lstStyle>
            <a:lvl1pPr>
              <a:defRPr sz="60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487680" y="3718560"/>
            <a:ext cx="11375136" cy="451405"/>
          </a:xfrm>
        </p:spPr>
        <p:txBody>
          <a:bodyPr wrap="square" lIns="0" anchor="b" anchorCtr="0">
            <a:spAutoFit/>
          </a:bodyPr>
          <a:lstStyle>
            <a:lvl1pPr>
              <a:buNone/>
              <a:defRPr sz="2933">
                <a:solidFill>
                  <a:schemeClr val="bg1">
                    <a:lumMod val="95000"/>
                  </a:schemeClr>
                </a:solidFill>
              </a:defRPr>
            </a:lvl1pPr>
          </a:lstStyle>
          <a:p>
            <a:pPr lvl="0"/>
            <a:r>
              <a:rPr lang="en-US" dirty="0"/>
              <a:t>More text on one line in this location if needed</a:t>
            </a:r>
          </a:p>
        </p:txBody>
      </p:sp>
    </p:spTree>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able of contents/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1" y="292100"/>
            <a:ext cx="11582400" cy="526640"/>
          </a:xfrm>
        </p:spPr>
        <p:txBody>
          <a:bodyPr/>
          <a:lstStyle>
            <a:lvl1pPr marL="0" marR="0" indent="0" algn="l" defTabSz="1219170" rtl="0" eaLnBrk="1" fontAlgn="base" latinLnBrk="0" hangingPunct="1">
              <a:lnSpc>
                <a:spcPct val="90000"/>
              </a:lnSpc>
              <a:spcBef>
                <a:spcPct val="0"/>
              </a:spcBef>
              <a:spcAft>
                <a:spcPct val="0"/>
              </a:spcAft>
              <a:buClrTx/>
              <a:buSzTx/>
              <a:buFontTx/>
              <a:buNone/>
              <a:tabLst/>
              <a:defRPr/>
            </a:lvl1pPr>
          </a:lstStyle>
          <a:p>
            <a:r>
              <a:rPr lang="en-US" dirty="0"/>
              <a:t>Table of contents/Agenda template</a:t>
            </a:r>
          </a:p>
        </p:txBody>
      </p:sp>
      <p:sp>
        <p:nvSpPr>
          <p:cNvPr id="3" name="Slide Number Placeholder 2"/>
          <p:cNvSpPr>
            <a:spLocks noGrp="1"/>
          </p:cNvSpPr>
          <p:nvPr>
            <p:ph type="sldNum" sz="quarter" idx="10"/>
          </p:nvPr>
        </p:nvSpPr>
        <p:spPr>
          <a:xfrm>
            <a:off x="438153" y="6524625"/>
            <a:ext cx="2832100" cy="228600"/>
          </a:xfrm>
          <a:prstGeom prst="rect">
            <a:avLst/>
          </a:prstGeom>
        </p:spPr>
        <p:txBody>
          <a:bodyPr/>
          <a:lstStyle/>
          <a:p>
            <a:pPr defTabSz="914309"/>
            <a:fld id="{92EDDE8C-FCD3-47EF-B8D4-5308179AEE2C}" type="slidenum">
              <a:rPr lang="en-US" sz="1900" smtClean="0">
                <a:solidFill>
                  <a:srgbClr val="000000"/>
                </a:solidFill>
              </a:rPr>
              <a:pPr defTabSz="914309"/>
              <a:t>‹#›</a:t>
            </a:fld>
            <a:endParaRPr lang="en-US" sz="1900" dirty="0">
              <a:solidFill>
                <a:srgbClr val="000000"/>
              </a:solidFill>
            </a:endParaRPr>
          </a:p>
        </p:txBody>
      </p:sp>
      <p:sp>
        <p:nvSpPr>
          <p:cNvPr id="8" name="Text Placeholder 6"/>
          <p:cNvSpPr>
            <a:spLocks noGrp="1"/>
          </p:cNvSpPr>
          <p:nvPr>
            <p:ph type="body" sz="quarter" idx="12" hasCustomPrompt="1"/>
          </p:nvPr>
        </p:nvSpPr>
        <p:spPr>
          <a:xfrm>
            <a:off x="4218433" y="1828800"/>
            <a:ext cx="7583793" cy="4114800"/>
          </a:xfrm>
        </p:spPr>
        <p:txBody>
          <a:bodyPr lIns="0" tIns="91440" bIns="0"/>
          <a:lstStyle>
            <a:lvl1pPr marL="0" indent="0">
              <a:lnSpc>
                <a:spcPts val="1733"/>
              </a:lnSpc>
              <a:spcBef>
                <a:spcPts val="1440"/>
              </a:spcBef>
              <a:buNone/>
              <a:defRPr sz="1600"/>
            </a:lvl1pPr>
          </a:lstStyle>
          <a:p>
            <a:pPr lvl="0"/>
            <a:r>
              <a:rPr lang="en-US" dirty="0"/>
              <a:t>Note that the contents/agenda items are written in sentence case</a:t>
            </a:r>
          </a:p>
          <a:p>
            <a:pPr lvl="0"/>
            <a:r>
              <a:rPr lang="en-US" dirty="0"/>
              <a:t>Title the page “Table of contents” if the document is meant to be read or is a “leave behind.” Use “Agenda” if the document will be presented formally</a:t>
            </a:r>
          </a:p>
          <a:p>
            <a:pPr lvl="0"/>
            <a:r>
              <a:rPr lang="en-US" dirty="0"/>
              <a:t>This page should appear at the beginning of each section, with the highlighted section appearing in blue and bold</a:t>
            </a:r>
          </a:p>
        </p:txBody>
      </p:sp>
      <p:sp>
        <p:nvSpPr>
          <p:cNvPr id="13" name="Text Placeholder 12"/>
          <p:cNvSpPr>
            <a:spLocks noGrp="1"/>
          </p:cNvSpPr>
          <p:nvPr>
            <p:ph type="body" sz="quarter" idx="13" hasCustomPrompt="1"/>
          </p:nvPr>
        </p:nvSpPr>
        <p:spPr>
          <a:xfrm>
            <a:off x="438912" y="1828800"/>
            <a:ext cx="3657600" cy="4114800"/>
          </a:xfrm>
        </p:spPr>
        <p:txBody>
          <a:bodyPr/>
          <a:lstStyle>
            <a:lvl1pPr marL="0" indent="0">
              <a:buNone/>
              <a:defRPr sz="2400"/>
            </a:lvl1pPr>
          </a:lstStyle>
          <a:p>
            <a:pPr lvl="0"/>
            <a:r>
              <a:rPr lang="en-US" dirty="0"/>
              <a:t>Content heading</a:t>
            </a:r>
          </a:p>
        </p:txBody>
      </p:sp>
    </p:spTree>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tIns="914400" anchor="ctr" anchorCtr="0"/>
          <a:lstStyle>
            <a:lvl1pPr algn="ctr">
              <a:buNone/>
              <a:defRPr/>
            </a:lvl1pPr>
          </a:lstStyle>
          <a:p>
            <a:endParaRPr lang="en-US" dirty="0"/>
          </a:p>
        </p:txBody>
      </p:sp>
      <p:sp>
        <p:nvSpPr>
          <p:cNvPr id="2" name="Title 1"/>
          <p:cNvSpPr>
            <a:spLocks noGrp="1"/>
          </p:cNvSpPr>
          <p:nvPr>
            <p:ph type="title" hasCustomPrompt="1"/>
          </p:nvPr>
        </p:nvSpPr>
        <p:spPr>
          <a:xfrm>
            <a:off x="438151" y="5440680"/>
            <a:ext cx="11338560" cy="526640"/>
          </a:xfrm>
        </p:spPr>
        <p:txBody>
          <a:bodyPr/>
          <a:lstStyle>
            <a:lvl1pPr>
              <a:defRPr>
                <a:solidFill>
                  <a:srgbClr val="FDB813"/>
                </a:solidFill>
              </a:defRPr>
            </a:lvl1pPr>
          </a:lstStyle>
          <a:p>
            <a:r>
              <a:rPr lang="en-US" dirty="0"/>
              <a:t>Full bleed images preferred</a:t>
            </a:r>
          </a:p>
        </p:txBody>
      </p:sp>
      <p:sp>
        <p:nvSpPr>
          <p:cNvPr id="8" name="Text Placeholder 7"/>
          <p:cNvSpPr>
            <a:spLocks noGrp="1"/>
          </p:cNvSpPr>
          <p:nvPr>
            <p:ph type="body" sz="quarter" idx="10" hasCustomPrompt="1"/>
          </p:nvPr>
        </p:nvSpPr>
        <p:spPr>
          <a:xfrm>
            <a:off x="438912" y="5989320"/>
            <a:ext cx="11338560" cy="731520"/>
          </a:xfrm>
        </p:spPr>
        <p:txBody>
          <a:bodyPr/>
          <a:lstStyle>
            <a:lvl1pPr marL="0" indent="0">
              <a:buNone/>
              <a:defRPr lang="en-US" sz="2133" kern="1200" dirty="0" smtClean="0">
                <a:solidFill>
                  <a:srgbClr val="6D6E70"/>
                </a:solidFill>
                <a:latin typeface="Arial" pitchFamily="34" charset="0"/>
                <a:ea typeface="+mn-ea"/>
                <a:cs typeface="Arial" pitchFamily="34" charset="0"/>
              </a:defRPr>
            </a:lvl1pPr>
          </a:lstStyle>
          <a:p>
            <a:pPr marL="0" lvl="0" indent="0" algn="l" rtl="0" fontAlgn="base">
              <a:spcBef>
                <a:spcPct val="50000"/>
              </a:spcBef>
              <a:spcAft>
                <a:spcPct val="0"/>
              </a:spcAft>
              <a:buClr>
                <a:srgbClr val="6D6E70"/>
              </a:buClr>
              <a:buSzPct val="90000"/>
              <a:buFont typeface="Wingdings" pitchFamily="2" charset="2"/>
              <a:buNone/>
            </a:pPr>
            <a:r>
              <a:rPr lang="en-US" dirty="0"/>
              <a:t>Text over top of full bleed images would be in white or a color from the color palette that would offer good contrast. Also, colored text in Arial Bold would have greater impact.</a:t>
            </a:r>
          </a:p>
        </p:txBody>
      </p:sp>
    </p:spTree>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12192000" cy="4526280"/>
          </a:xfrm>
        </p:spPr>
        <p:txBody>
          <a:bodyPr tIns="914400" anchor="ctr" anchorCtr="0"/>
          <a:lstStyle>
            <a:lvl1pPr algn="ctr">
              <a:buNone/>
              <a:defRPr/>
            </a:lvl1pPr>
          </a:lstStyle>
          <a:p>
            <a:endParaRPr lang="en-US"/>
          </a:p>
        </p:txBody>
      </p:sp>
      <p:sp>
        <p:nvSpPr>
          <p:cNvPr id="2" name="Title 1"/>
          <p:cNvSpPr>
            <a:spLocks noGrp="1"/>
          </p:cNvSpPr>
          <p:nvPr>
            <p:ph type="title" hasCustomPrompt="1"/>
          </p:nvPr>
        </p:nvSpPr>
        <p:spPr>
          <a:xfrm>
            <a:off x="487680" y="5257802"/>
            <a:ext cx="11338560" cy="300937"/>
          </a:xfrm>
        </p:spPr>
        <p:txBody>
          <a:bodyPr/>
          <a:lstStyle>
            <a:lvl1pPr>
              <a:defRPr sz="2133">
                <a:solidFill>
                  <a:srgbClr val="00B0DA"/>
                </a:solidFill>
              </a:defRPr>
            </a:lvl1pPr>
          </a:lstStyle>
          <a:p>
            <a:r>
              <a:rPr lang="en-US" dirty="0"/>
              <a:t>Images also have more impact if they can bleed 3 sides</a:t>
            </a:r>
          </a:p>
        </p:txBody>
      </p:sp>
      <p:sp>
        <p:nvSpPr>
          <p:cNvPr id="6" name="Text Placeholder 5"/>
          <p:cNvSpPr>
            <a:spLocks noGrp="1"/>
          </p:cNvSpPr>
          <p:nvPr>
            <p:ph type="body" sz="quarter" idx="10" hasCustomPrompt="1"/>
          </p:nvPr>
        </p:nvSpPr>
        <p:spPr>
          <a:xfrm>
            <a:off x="487680" y="5532120"/>
            <a:ext cx="9753600" cy="914400"/>
          </a:xfrm>
        </p:spPr>
        <p:txBody>
          <a:bodyPr/>
          <a:lstStyle>
            <a:lvl1pPr marL="0" indent="0">
              <a:buNone/>
              <a:defRPr kern="1200">
                <a:solidFill>
                  <a:srgbClr val="6D6E70"/>
                </a:solidFill>
              </a:defRPr>
            </a:lvl1pPr>
          </a:lstStyle>
          <a:p>
            <a:pPr lvl="0"/>
            <a:r>
              <a:rPr lang="en-US" dirty="0"/>
              <a:t>Text under partial bleed images would be in 70% black or a color from the color palette. Also, colored text in Arial Bold would have greater impact. </a:t>
            </a:r>
          </a:p>
        </p:txBody>
      </p:sp>
      <p:sp>
        <p:nvSpPr>
          <p:cNvPr id="7" name="Slide Number Placeholder 6"/>
          <p:cNvSpPr>
            <a:spLocks noGrp="1"/>
          </p:cNvSpPr>
          <p:nvPr>
            <p:ph type="sldNum" sz="quarter" idx="11"/>
          </p:nvPr>
        </p:nvSpPr>
        <p:spPr>
          <a:xfrm>
            <a:off x="438153" y="6524625"/>
            <a:ext cx="2832100" cy="228600"/>
          </a:xfrm>
          <a:prstGeom prst="rect">
            <a:avLst/>
          </a:prstGeom>
        </p:spPr>
        <p:txBody>
          <a:bodyPr/>
          <a:lstStyle/>
          <a:p>
            <a:pPr defTabSz="914309"/>
            <a:fld id="{92EDDE8C-FCD3-47EF-B8D4-5308179AEE2C}" type="slidenum">
              <a:rPr lang="en-US" sz="1900" smtClean="0">
                <a:solidFill>
                  <a:srgbClr val="000000"/>
                </a:solidFill>
              </a:rPr>
              <a:pPr defTabSz="914309"/>
              <a:t>‹#›</a:t>
            </a:fld>
            <a:endParaRPr lang="en-US" sz="1900" dirty="0">
              <a:solidFill>
                <a:srgbClr val="000000"/>
              </a:solidFill>
            </a:endParaRPr>
          </a:p>
        </p:txBody>
      </p:sp>
    </p:spTree>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header only">
    <p:spTree>
      <p:nvGrpSpPr>
        <p:cNvPr id="1" name=""/>
        <p:cNvGrpSpPr/>
        <p:nvPr/>
      </p:nvGrpSpPr>
      <p:grpSpPr>
        <a:xfrm>
          <a:off x="0" y="0"/>
          <a:ext cx="0" cy="0"/>
          <a:chOff x="0" y="0"/>
          <a:chExt cx="0" cy="0"/>
        </a:xfrm>
      </p:grpSpPr>
      <p:sp>
        <p:nvSpPr>
          <p:cNvPr id="13" name="Title 12"/>
          <p:cNvSpPr>
            <a:spLocks noGrp="1"/>
          </p:cNvSpPr>
          <p:nvPr>
            <p:ph type="title"/>
          </p:nvPr>
        </p:nvSpPr>
        <p:spPr>
          <a:xfrm>
            <a:off x="483024" y="365760"/>
            <a:ext cx="10855537" cy="1036320"/>
          </a:xfrm>
          <a:prstGeom prst="rect">
            <a:avLst/>
          </a:prstGeom>
        </p:spPr>
        <p:txBody>
          <a:bodyPr lIns="0" tIns="0" rIns="0" bIns="0"/>
          <a:lstStyle>
            <a:lvl1pPr>
              <a:defRPr>
                <a:solidFill>
                  <a:schemeClr val="tx1"/>
                </a:solidFill>
              </a:defRPr>
            </a:lvl1pPr>
          </a:lstStyle>
          <a:p>
            <a:r>
              <a:rPr lang="en-US" dirty="0"/>
              <a:t>Click to edit Master title style</a:t>
            </a:r>
          </a:p>
        </p:txBody>
      </p:sp>
    </p:spTree>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Section Page_yellow">
    <p:bg>
      <p:bgPr>
        <a:solidFill>
          <a:schemeClr val="accent3"/>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5608320"/>
          </a:xfrm>
          <a:prstGeom prst="rect">
            <a:avLst/>
          </a:prstGeom>
          <a:noFill/>
          <a:ln w="9525">
            <a:noFill/>
            <a:miter lim="800000"/>
            <a:headEnd/>
            <a:tailEnd/>
          </a:ln>
        </p:spPr>
      </p:pic>
      <p:sp>
        <p:nvSpPr>
          <p:cNvPr id="7" name="Text Placeholder 10"/>
          <p:cNvSpPr>
            <a:spLocks noGrp="1"/>
          </p:cNvSpPr>
          <p:nvPr>
            <p:ph type="body" sz="quarter" idx="10" hasCustomPrompt="1"/>
          </p:nvPr>
        </p:nvSpPr>
        <p:spPr>
          <a:xfrm>
            <a:off x="487681" y="3657600"/>
            <a:ext cx="10855537" cy="451405"/>
          </a:xfrm>
          <a:prstGeom prst="rect">
            <a:avLst/>
          </a:prstGeom>
        </p:spPr>
        <p:txBody>
          <a:bodyPr wrap="square" lIns="0" tIns="0" rIns="0" bIns="0" anchor="t" anchorCtr="0">
            <a:spAutoFit/>
          </a:bodyPr>
          <a:lstStyle>
            <a:lvl1pPr>
              <a:buNone/>
              <a:defRPr sz="2933">
                <a:solidFill>
                  <a:schemeClr val="bg1">
                    <a:lumMod val="95000"/>
                  </a:schemeClr>
                </a:solidFill>
              </a:defRPr>
            </a:lvl1pPr>
          </a:lstStyle>
          <a:p>
            <a:pPr lvl="0"/>
            <a:r>
              <a:rPr lang="en-US" dirty="0"/>
              <a:t>More text on one line in this location if needed</a:t>
            </a:r>
          </a:p>
        </p:txBody>
      </p:sp>
      <p:sp>
        <p:nvSpPr>
          <p:cNvPr id="8" name="Title 7"/>
          <p:cNvSpPr>
            <a:spLocks noGrp="1"/>
          </p:cNvSpPr>
          <p:nvPr>
            <p:ph type="title" hasCustomPrompt="1"/>
          </p:nvPr>
        </p:nvSpPr>
        <p:spPr>
          <a:xfrm>
            <a:off x="482385" y="2438400"/>
            <a:ext cx="10860833" cy="1143000"/>
          </a:xfrm>
          <a:prstGeom prst="rect">
            <a:avLst/>
          </a:prstGeom>
        </p:spPr>
        <p:txBody>
          <a:bodyPr lIns="0" tIns="0" rIns="0" bIns="0" anchor="b" anchorCtr="0"/>
          <a:lstStyle>
            <a:lvl1pPr>
              <a:defRPr sz="6000">
                <a:solidFill>
                  <a:srgbClr val="FFFFFF"/>
                </a:solidFill>
              </a:defRPr>
            </a:lvl1pPr>
          </a:lstStyle>
          <a:p>
            <a:r>
              <a:rPr lang="en-US" dirty="0"/>
              <a:t>Section page</a:t>
            </a:r>
          </a:p>
        </p:txBody>
      </p:sp>
    </p:spTree>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8400" y="4965325"/>
            <a:ext cx="5546890" cy="1603000"/>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cSld name="White Title &amp; Image ">
    <p:spTree>
      <p:nvGrpSpPr>
        <p:cNvPr id="1" name=""/>
        <p:cNvGrpSpPr/>
        <p:nvPr/>
      </p:nvGrpSpPr>
      <p:grpSpPr>
        <a:xfrm>
          <a:off x="0" y="0"/>
          <a:ext cx="0" cy="0"/>
          <a:chOff x="0" y="0"/>
          <a:chExt cx="0" cy="0"/>
        </a:xfrm>
      </p:grpSpPr>
      <p:sp>
        <p:nvSpPr>
          <p:cNvPr id="40" name="Shape 40"/>
          <p:cNvSpPr>
            <a:spLocks noGrp="1"/>
          </p:cNvSpPr>
          <p:nvPr>
            <p:ph type="title"/>
          </p:nvPr>
        </p:nvSpPr>
        <p:spPr>
          <a:prstGeom prst="rect">
            <a:avLst/>
          </a:prstGeom>
        </p:spPr>
        <p:txBody>
          <a:bodyPr/>
          <a:lstStyle/>
          <a:p>
            <a:r>
              <a:t>Click to edit Master title style</a:t>
            </a:r>
          </a:p>
        </p:txBody>
      </p:sp>
      <p:sp>
        <p:nvSpPr>
          <p:cNvPr id="41" name="Shape 41"/>
          <p:cNvSpPr>
            <a:spLocks noGrp="1"/>
          </p:cNvSpPr>
          <p:nvPr>
            <p:ph type="sldNum" sz="quarter" idx="2"/>
          </p:nvPr>
        </p:nvSpPr>
        <p:spPr>
          <a:xfrm>
            <a:off x="11428925" y="6525183"/>
            <a:ext cx="508633" cy="153888"/>
          </a:xfrm>
          <a:prstGeom prst="rect">
            <a:avLst/>
          </a:prstGeom>
        </p:spPr>
        <p:txBody>
          <a:bodyPr/>
          <a:lstStyle/>
          <a:p>
            <a:pPr defTabSz="914309"/>
            <a:fld id="{86CB4B4D-7CA3-9044-876B-883B54F8677D}" type="slidenum">
              <a:rPr sz="1900">
                <a:solidFill>
                  <a:srgbClr val="000000"/>
                </a:solidFill>
                <a:latin typeface="Helvetica"/>
                <a:ea typeface="Helvetica"/>
                <a:cs typeface="Helvetica"/>
              </a:rPr>
              <a:pPr defTabSz="914309"/>
              <a:t>‹#›</a:t>
            </a:fld>
            <a:endParaRPr sz="1900" dirty="0">
              <a:solidFill>
                <a:srgbClr val="000000"/>
              </a:solidFill>
              <a:latin typeface="Helvetica"/>
              <a:ea typeface="Helvetica"/>
              <a:cs typeface="Helvetica"/>
            </a:endParaRPr>
          </a:p>
        </p:txBody>
      </p:sp>
    </p:spTree>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0FDDEA-ADCC-AE4C-A94E-1E3AB4C4CF7B}" type="datetimeFigureOut">
              <a:rPr lang="en-US" smtClean="0"/>
              <a:t>8/3/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3504024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10"/>
          </p:nvPr>
        </p:nvSpPr>
        <p:spPr>
          <a:xfrm>
            <a:off x="947329" y="6624982"/>
            <a:ext cx="8925636" cy="158047"/>
          </a:xfrm>
          <a:prstGeom prst="rect">
            <a:avLst/>
          </a:prstGeom>
        </p:spPr>
        <p:txBody>
          <a:bodyPr/>
          <a:lstStyle/>
          <a:p>
            <a:pPr defTabSz="914309"/>
            <a:r>
              <a:rPr lang="en-US" sz="1900" dirty="0">
                <a:solidFill>
                  <a:srgbClr val="000000"/>
                </a:solidFill>
              </a:rPr>
              <a:t>Edit on Slide Master using Insert &gt; Header &amp; Footer. Presentation title here  |  Day Month Year</a:t>
            </a:r>
          </a:p>
        </p:txBody>
      </p:sp>
      <p:sp>
        <p:nvSpPr>
          <p:cNvPr id="8" name="Slide Number Placeholder 7"/>
          <p:cNvSpPr>
            <a:spLocks noGrp="1"/>
          </p:cNvSpPr>
          <p:nvPr>
            <p:ph type="sldNum" sz="quarter" idx="11"/>
          </p:nvPr>
        </p:nvSpPr>
        <p:spPr>
          <a:xfrm>
            <a:off x="611720" y="6483067"/>
            <a:ext cx="243416" cy="180272"/>
          </a:xfrm>
          <a:prstGeom prst="rect">
            <a:avLst/>
          </a:prstGeom>
        </p:spPr>
        <p:txBody>
          <a:bodyPr/>
          <a:lstStyle/>
          <a:p>
            <a:pPr defTabSz="914309"/>
            <a:fld id="{8D075B93-D109-AA40-90DC-047F609B1C05}" type="slidenum">
              <a:rPr lang="en-US" sz="1900" smtClean="0">
                <a:solidFill>
                  <a:srgbClr val="000000"/>
                </a:solidFill>
              </a:rPr>
              <a:pPr defTabSz="914309"/>
              <a:t>‹#›</a:t>
            </a:fld>
            <a:endParaRPr lang="en-US" sz="1900" dirty="0">
              <a:solidFill>
                <a:srgbClr val="000000"/>
              </a:solidFill>
            </a:endParaRPr>
          </a:p>
        </p:txBody>
      </p:sp>
      <p:sp>
        <p:nvSpPr>
          <p:cNvPr id="9" name="Text Placeholder 4"/>
          <p:cNvSpPr>
            <a:spLocks noGrp="1"/>
          </p:cNvSpPr>
          <p:nvPr>
            <p:ph type="body" sz="quarter" idx="12"/>
          </p:nvPr>
        </p:nvSpPr>
        <p:spPr>
          <a:xfrm>
            <a:off x="609599" y="1025398"/>
            <a:ext cx="10972800" cy="241690"/>
          </a:xfrm>
        </p:spPr>
        <p:txBody>
          <a:bodyPr>
            <a:noAutofit/>
          </a:bodyPr>
          <a:lstStyle>
            <a:lvl1pPr>
              <a:lnSpc>
                <a:spcPts val="1600"/>
              </a:lnSpc>
              <a:spcBef>
                <a:spcPts val="0"/>
              </a:spcBef>
              <a:defRPr sz="1300" b="1" i="0" cap="none"/>
            </a:lvl1pPr>
            <a:lvl2pPr>
              <a:lnSpc>
                <a:spcPts val="1600"/>
              </a:lnSpc>
              <a:spcBef>
                <a:spcPts val="0"/>
              </a:spcBef>
              <a:defRPr sz="1100" b="1" i="0" cap="all"/>
            </a:lvl2pPr>
            <a:lvl3pPr>
              <a:lnSpc>
                <a:spcPts val="1600"/>
              </a:lnSpc>
              <a:spcBef>
                <a:spcPts val="0"/>
              </a:spcBef>
              <a:defRPr sz="1100" b="1" i="0" cap="all"/>
            </a:lvl3pPr>
            <a:lvl4pPr>
              <a:lnSpc>
                <a:spcPts val="1600"/>
              </a:lnSpc>
              <a:spcBef>
                <a:spcPts val="0"/>
              </a:spcBef>
              <a:defRPr sz="1100" b="1" i="0" cap="all"/>
            </a:lvl4pPr>
            <a:lvl5pPr>
              <a:lnSpc>
                <a:spcPts val="1600"/>
              </a:lnSpc>
              <a:spcBef>
                <a:spcPts val="0"/>
              </a:spcBef>
              <a:defRPr sz="1100" b="1" i="0" cap="all"/>
            </a:lvl5pPr>
          </a:lstStyle>
          <a:p>
            <a:pPr lvl="0"/>
            <a:r>
              <a:rPr lang="en-US"/>
              <a:t>Click to edit Master text styles</a:t>
            </a:r>
          </a:p>
        </p:txBody>
      </p:sp>
    </p:spTree>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201084" y="6726238"/>
            <a:ext cx="163406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a:defRPr/>
            </a:pPr>
            <a:r>
              <a:rPr lang="en-US" altLang="en-US" sz="700" dirty="0">
                <a:solidFill>
                  <a:srgbClr val="5A5A5A"/>
                </a:solidFill>
                <a:ea typeface="ＭＳ Ｐゴシック" charset="-128"/>
              </a:rPr>
              <a:t>© </a:t>
            </a:r>
            <a:r>
              <a:rPr lang="is-IS" altLang="en-US" sz="700" dirty="0">
                <a:solidFill>
                  <a:srgbClr val="5A5A5A"/>
                </a:solidFill>
                <a:ea typeface="ＭＳ Ｐゴシック" charset="-128"/>
              </a:rPr>
              <a:t>2017</a:t>
            </a:r>
            <a:r>
              <a:rPr lang="en-US" altLang="en-US" sz="700" dirty="0">
                <a:solidFill>
                  <a:srgbClr val="5A5A5A"/>
                </a:solidFill>
                <a:ea typeface="ＭＳ Ｐゴシック" charset="-128"/>
              </a:rPr>
              <a:t> IBM Corporation</a:t>
            </a:r>
          </a:p>
        </p:txBody>
      </p:sp>
      <p:sp>
        <p:nvSpPr>
          <p:cNvPr id="3" name="Rectangle 2"/>
          <p:cNvSpPr/>
          <p:nvPr userDrawn="1"/>
        </p:nvSpPr>
        <p:spPr>
          <a:xfrm>
            <a:off x="11618384" y="6618288"/>
            <a:ext cx="309700" cy="215444"/>
          </a:xfrm>
          <a:prstGeom prst="rect">
            <a:avLst/>
          </a:prstGeom>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309">
              <a:defRPr/>
            </a:pPr>
            <a:fld id="{86A9C65A-68F7-A449-8DC6-256501A2F7EE}" type="slidenum">
              <a:rPr lang="en-US" altLang="en-US" sz="800" smtClean="0">
                <a:solidFill>
                  <a:srgbClr val="7F7F7F"/>
                </a:solidFill>
              </a:rPr>
              <a:pPr defTabSz="914309">
                <a:defRPr/>
              </a:pPr>
              <a:t>‹#›</a:t>
            </a:fld>
            <a:endParaRPr lang="en-US" altLang="en-US" sz="1000" dirty="0">
              <a:solidFill>
                <a:srgbClr val="7F7F7F"/>
              </a:solidFill>
            </a:endParaRPr>
          </a:p>
        </p:txBody>
      </p:sp>
    </p:spTree>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6EB42-6A5F-4CC1-A399-36AA8DAD5D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6F07D1-1079-4F84-91C7-71D72A0C1D90}"/>
              </a:ext>
            </a:extLst>
          </p:cNvPr>
          <p:cNvSpPr>
            <a:spLocks noGrp="1"/>
          </p:cNvSpPr>
          <p:nvPr>
            <p:ph type="dt" sz="half" idx="10"/>
          </p:nvPr>
        </p:nvSpPr>
        <p:spPr/>
        <p:txBody>
          <a:bodyPr/>
          <a:lstStyle/>
          <a:p>
            <a:pPr defTabSz="914309"/>
            <a:fld id="{C4162CBF-EFF8-4767-82BB-096503DC3AD7}" type="datetimeFigureOut">
              <a:rPr lang="en-US" sz="1900" smtClean="0">
                <a:solidFill>
                  <a:srgbClr val="000000"/>
                </a:solidFill>
              </a:rPr>
              <a:pPr defTabSz="914309"/>
              <a:t>8/3/18</a:t>
            </a:fld>
            <a:endParaRPr lang="en-US" sz="1900">
              <a:solidFill>
                <a:srgbClr val="000000"/>
              </a:solidFill>
            </a:endParaRPr>
          </a:p>
        </p:txBody>
      </p:sp>
      <p:sp>
        <p:nvSpPr>
          <p:cNvPr id="4" name="Footer Placeholder 3">
            <a:extLst>
              <a:ext uri="{FF2B5EF4-FFF2-40B4-BE49-F238E27FC236}">
                <a16:creationId xmlns:a16="http://schemas.microsoft.com/office/drawing/2014/main" id="{932BF525-B783-4384-B54F-3D73C1C04156}"/>
              </a:ext>
            </a:extLst>
          </p:cNvPr>
          <p:cNvSpPr>
            <a:spLocks noGrp="1"/>
          </p:cNvSpPr>
          <p:nvPr>
            <p:ph type="ftr" sz="quarter" idx="11"/>
          </p:nvPr>
        </p:nvSpPr>
        <p:spPr/>
        <p:txBody>
          <a:bodyPr/>
          <a:lstStyle/>
          <a:p>
            <a:pPr defTabSz="914309"/>
            <a:endParaRPr lang="en-US" sz="1900">
              <a:solidFill>
                <a:srgbClr val="000000"/>
              </a:solidFill>
            </a:endParaRPr>
          </a:p>
        </p:txBody>
      </p:sp>
      <p:sp>
        <p:nvSpPr>
          <p:cNvPr id="5" name="Slide Number Placeholder 4">
            <a:extLst>
              <a:ext uri="{FF2B5EF4-FFF2-40B4-BE49-F238E27FC236}">
                <a16:creationId xmlns:a16="http://schemas.microsoft.com/office/drawing/2014/main" id="{7A35FF49-8BDC-4E98-B2C6-E58C7EE4EA15}"/>
              </a:ext>
            </a:extLst>
          </p:cNvPr>
          <p:cNvSpPr>
            <a:spLocks noGrp="1"/>
          </p:cNvSpPr>
          <p:nvPr>
            <p:ph type="sldNum" sz="quarter" idx="12"/>
          </p:nvPr>
        </p:nvSpPr>
        <p:spPr/>
        <p:txBody>
          <a:bodyPr/>
          <a:lstStyle/>
          <a:p>
            <a:pPr defTabSz="914309"/>
            <a:fld id="{7092B6BB-115B-45D3-83C4-3CA7B400F3D0}" type="slidenum">
              <a:rPr lang="en-US" sz="1900" smtClean="0">
                <a:solidFill>
                  <a:srgbClr val="000000"/>
                </a:solidFill>
              </a:rPr>
              <a:pPr defTabSz="914309"/>
              <a:t>‹#›</a:t>
            </a:fld>
            <a:endParaRPr lang="en-US" sz="1900">
              <a:solidFill>
                <a:srgbClr val="000000"/>
              </a:solidFill>
            </a:endParaRPr>
          </a:p>
        </p:txBody>
      </p:sp>
    </p:spTree>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Graphic slide">
    <p:bg>
      <p:bgPr>
        <a:solidFill>
          <a:srgbClr val="FFFFFF"/>
        </a:solidFill>
        <a:effectLst/>
      </p:bgPr>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3723218" y="6489701"/>
            <a:ext cx="410633" cy="123111"/>
          </a:xfrm>
          <a:prstGeom prst="rect">
            <a:avLst/>
          </a:prstGeom>
          <a:noFill/>
          <a:ln w="9525">
            <a:noFill/>
            <a:miter lim="800000"/>
            <a:headEnd/>
            <a:tailEnd/>
          </a:ln>
        </p:spPr>
        <p:txBody>
          <a:bodyPr lIns="0" tIns="0" rIns="0" bIns="0">
            <a:spAutoFit/>
          </a:bodyPr>
          <a:lstStyle/>
          <a:p>
            <a:pPr defTabSz="914309">
              <a:defRPr/>
            </a:pPr>
            <a:fld id="{1C337AAC-EE4A-44E1-AA1C-47EAC237B301}" type="slidenum">
              <a:rPr lang="en-US" sz="800">
                <a:solidFill>
                  <a:srgbClr val="5A5A5A"/>
                </a:solidFill>
                <a:ea typeface="MS PGothic" pitchFamily="34" charset="-128"/>
              </a:rPr>
              <a:pPr defTabSz="914309">
                <a:defRPr/>
              </a:pPr>
              <a:t>‹#›</a:t>
            </a:fld>
            <a:endParaRPr lang="en-US" sz="800">
              <a:solidFill>
                <a:srgbClr val="5A5A5A"/>
              </a:solidFill>
              <a:ea typeface="MS PGothic" pitchFamily="34" charset="-128"/>
            </a:endParaRPr>
          </a:p>
        </p:txBody>
      </p:sp>
      <p:sp>
        <p:nvSpPr>
          <p:cNvPr id="4" name="Rectangle 3"/>
          <p:cNvSpPr>
            <a:spLocks noChangeArrowheads="1"/>
          </p:cNvSpPr>
          <p:nvPr/>
        </p:nvSpPr>
        <p:spPr bwMode="auto">
          <a:xfrm>
            <a:off x="3454400" y="6489701"/>
            <a:ext cx="262467" cy="123111"/>
          </a:xfrm>
          <a:prstGeom prst="rect">
            <a:avLst/>
          </a:prstGeom>
          <a:noFill/>
          <a:ln w="9525">
            <a:noFill/>
            <a:miter lim="800000"/>
            <a:headEnd/>
            <a:tailEnd/>
          </a:ln>
        </p:spPr>
        <p:txBody>
          <a:bodyPr lIns="0" tIns="0" rIns="0" bIns="0">
            <a:spAutoFit/>
          </a:bodyPr>
          <a:lstStyle/>
          <a:p>
            <a:pPr defTabSz="914309">
              <a:defRPr/>
            </a:pPr>
            <a:r>
              <a:rPr lang="en-US" sz="800">
                <a:solidFill>
                  <a:srgbClr val="5A5A5A"/>
                </a:solidFill>
                <a:ea typeface="MS PGothic" pitchFamily="34" charset="-128"/>
              </a:rPr>
              <a:t>Page</a:t>
            </a:r>
          </a:p>
        </p:txBody>
      </p:sp>
      <p:sp>
        <p:nvSpPr>
          <p:cNvPr id="5" name="Rectangle 4"/>
          <p:cNvSpPr>
            <a:spLocks noChangeArrowheads="1"/>
          </p:cNvSpPr>
          <p:nvPr/>
        </p:nvSpPr>
        <p:spPr bwMode="auto">
          <a:xfrm>
            <a:off x="817034" y="6489701"/>
            <a:ext cx="1589617" cy="123111"/>
          </a:xfrm>
          <a:prstGeom prst="rect">
            <a:avLst/>
          </a:prstGeom>
          <a:noFill/>
          <a:ln w="9525">
            <a:noFill/>
            <a:miter lim="800000"/>
            <a:headEnd/>
            <a:tailEnd/>
          </a:ln>
        </p:spPr>
        <p:txBody>
          <a:bodyPr lIns="0" tIns="0" rIns="0" bIns="0">
            <a:spAutoFit/>
          </a:bodyPr>
          <a:lstStyle/>
          <a:p>
            <a:pPr defTabSz="914309">
              <a:defRPr/>
            </a:pPr>
            <a:r>
              <a:rPr lang="en-US" sz="800" dirty="0">
                <a:solidFill>
                  <a:srgbClr val="5A5A5A"/>
                </a:solidFill>
                <a:ea typeface="MS PGothic" pitchFamily="34" charset="-128"/>
              </a:rPr>
              <a:t>© 2017 IBM Corporation</a:t>
            </a:r>
          </a:p>
        </p:txBody>
      </p:sp>
      <p:sp>
        <p:nvSpPr>
          <p:cNvPr id="2" name="Title 1"/>
          <p:cNvSpPr>
            <a:spLocks noGrp="1"/>
          </p:cNvSpPr>
          <p:nvPr>
            <p:ph type="title"/>
          </p:nvPr>
        </p:nvSpPr>
        <p:spPr>
          <a:xfrm>
            <a:off x="790577" y="795409"/>
            <a:ext cx="5283200" cy="523220"/>
          </a:xfrm>
        </p:spPr>
        <p:txBody>
          <a:bodyPr/>
          <a:lstStyle>
            <a:lvl1pPr>
              <a:lnSpc>
                <a:spcPts val="4000"/>
              </a:lnSpc>
              <a:defRPr sz="3733" baseline="0">
                <a:solidFill>
                  <a:schemeClr val="accent5"/>
                </a:solidFill>
              </a:defRPr>
            </a:lvl1pPr>
          </a:lstStyle>
          <a:p>
            <a:r>
              <a:rPr lang="en-US" dirty="0"/>
              <a:t>Click to edit Master title</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0FDDEA-ADCC-AE4C-A94E-1E3AB4C4CF7B}" type="datetimeFigureOut">
              <a:rPr lang="en-US" smtClean="0"/>
              <a:t>8/3/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607467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10FDDEA-ADCC-AE4C-A94E-1E3AB4C4CF7B}" type="datetimeFigureOut">
              <a:rPr lang="en-US" smtClean="0"/>
              <a:t>8/3/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369287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10FDDEA-ADCC-AE4C-A94E-1E3AB4C4CF7B}" type="datetimeFigureOut">
              <a:rPr lang="en-US" smtClean="0"/>
              <a:t>8/3/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4E7179-45AD-B649-808D-F59F06071EF6}" type="slidenum">
              <a:rPr lang="en-US" smtClean="0"/>
              <a:t>‹#›</a:t>
            </a:fld>
            <a:endParaRPr lang="en-US"/>
          </a:p>
        </p:txBody>
      </p:sp>
    </p:spTree>
    <p:extLst>
      <p:ext uri="{BB962C8B-B14F-4D97-AF65-F5344CB8AC3E}">
        <p14:creationId xmlns:p14="http://schemas.microsoft.com/office/powerpoint/2010/main" val="1179881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image" Target="../media/image5.png"/><Relationship Id="rId20" Type="http://schemas.openxmlformats.org/officeDocument/2006/relationships/slideLayout" Target="../slideLayouts/slideLayout39.xml"/><Relationship Id="rId4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0FDDEA-ADCC-AE4C-A94E-1E3AB4C4CF7B}" type="datetimeFigureOut">
              <a:rPr lang="en-US" smtClean="0"/>
              <a:t>8/3/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4E7179-45AD-B649-808D-F59F06071EF6}" type="slidenum">
              <a:rPr lang="en-US" smtClean="0"/>
              <a:t>‹#›</a:t>
            </a:fld>
            <a:endParaRPr lang="en-US"/>
          </a:p>
        </p:txBody>
      </p:sp>
    </p:spTree>
    <p:extLst>
      <p:ext uri="{BB962C8B-B14F-4D97-AF65-F5344CB8AC3E}">
        <p14:creationId xmlns:p14="http://schemas.microsoft.com/office/powerpoint/2010/main" val="16878052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665" r:id="rId13"/>
    <p:sldLayoutId id="2147483666" r:id="rId14"/>
    <p:sldLayoutId id="2147483667" r:id="rId15"/>
    <p:sldLayoutId id="2147483713" r:id="rId16"/>
    <p:sldLayoutId id="2147483714" r:id="rId17"/>
    <p:sldLayoutId id="2147483715" r:id="rId18"/>
    <p:sldLayoutId id="2147483716"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3484" y="611189"/>
            <a:ext cx="11537949" cy="937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dirty="0"/>
              <a:t>Click to edit Master title style</a:t>
            </a:r>
          </a:p>
        </p:txBody>
      </p:sp>
      <p:sp>
        <p:nvSpPr>
          <p:cNvPr id="1027" name="Rectangle 3"/>
          <p:cNvSpPr>
            <a:spLocks noGrp="1" noChangeArrowheads="1"/>
          </p:cNvSpPr>
          <p:nvPr>
            <p:ph type="body" idx="1"/>
          </p:nvPr>
        </p:nvSpPr>
        <p:spPr bwMode="auto">
          <a:xfrm>
            <a:off x="353485" y="1658112"/>
            <a:ext cx="11533716" cy="4666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US" dirty="0"/>
          </a:p>
        </p:txBody>
      </p:sp>
      <p:sp>
        <p:nvSpPr>
          <p:cNvPr id="1028" name="Line 4"/>
          <p:cNvSpPr>
            <a:spLocks noChangeShapeType="1"/>
          </p:cNvSpPr>
          <p:nvPr/>
        </p:nvSpPr>
        <p:spPr bwMode="auto">
          <a:xfrm>
            <a:off x="347134" y="549275"/>
            <a:ext cx="11493500" cy="0"/>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pPr defTabSz="914309"/>
            <a:endParaRPr lang="en-US" sz="2533">
              <a:solidFill>
                <a:srgbClr val="000000"/>
              </a:solidFill>
              <a:latin typeface="Helvetica Neue" charset="0"/>
              <a:ea typeface="Helvetica Neue" charset="0"/>
              <a:cs typeface="Helvetica Neue" charset="0"/>
            </a:endParaRPr>
          </a:p>
        </p:txBody>
      </p:sp>
      <p:sp>
        <p:nvSpPr>
          <p:cNvPr id="1029" name="Rectangle 6"/>
          <p:cNvSpPr>
            <a:spLocks noChangeArrowheads="1"/>
          </p:cNvSpPr>
          <p:nvPr/>
        </p:nvSpPr>
        <p:spPr bwMode="black">
          <a:xfrm>
            <a:off x="7888817" y="6481765"/>
            <a:ext cx="4072467" cy="3086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67" tIns="61384" rIns="122767" bIns="61384">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defTabSz="914309"/>
            <a:r>
              <a:rPr lang="en-US" altLang="en-US" sz="1200" dirty="0">
                <a:solidFill>
                  <a:srgbClr val="000000"/>
                </a:solidFill>
                <a:latin typeface="Helvetica Neue" charset="0"/>
                <a:ea typeface="Helvetica Neue" charset="0"/>
                <a:cs typeface="Helvetica Neue" charset="0"/>
              </a:rPr>
              <a:t>© 2017 IBM Corporation</a:t>
            </a:r>
          </a:p>
        </p:txBody>
      </p:sp>
      <p:sp>
        <p:nvSpPr>
          <p:cNvPr id="1030" name="Rectangle 6"/>
          <p:cNvSpPr>
            <a:spLocks noChangeArrowheads="1"/>
          </p:cNvSpPr>
          <p:nvPr/>
        </p:nvSpPr>
        <p:spPr bwMode="auto">
          <a:xfrm>
            <a:off x="228600" y="6486525"/>
            <a:ext cx="736600" cy="247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914309"/>
            <a:fld id="{294A4D5E-C66C-491A-AF59-A0E868626F6C}" type="slidenum">
              <a:rPr lang="en-US" altLang="en-US" sz="1200">
                <a:solidFill>
                  <a:srgbClr val="000000"/>
                </a:solidFill>
                <a:latin typeface="Helvetica Neue" charset="0"/>
                <a:ea typeface="Helvetica Neue" charset="0"/>
                <a:cs typeface="Helvetica Neue" charset="0"/>
              </a:rPr>
              <a:pPr defTabSz="914309"/>
              <a:t>‹#›</a:t>
            </a:fld>
            <a:endParaRPr lang="en-US" altLang="en-US" sz="1200">
              <a:solidFill>
                <a:srgbClr val="000000"/>
              </a:solidFill>
              <a:latin typeface="Helvetica Neue" charset="0"/>
              <a:ea typeface="Helvetica Neue" charset="0"/>
              <a:cs typeface="Helvetica Neue" charset="0"/>
            </a:endParaRPr>
          </a:p>
        </p:txBody>
      </p:sp>
      <p:pic>
        <p:nvPicPr>
          <p:cNvPr id="1031" name="Picture 7" descr="ibm_sp_lockup_western-02"/>
          <p:cNvPicPr>
            <a:picLocks noChangeAspect="1" noChangeArrowheads="1"/>
          </p:cNvPicPr>
          <p:nvPr/>
        </p:nvPicPr>
        <p:blipFill>
          <a:blip r:embed="rId46" cstate="print">
            <a:extLst>
              <a:ext uri="{28A0092B-C50C-407E-A947-70E740481C1C}">
                <a14:useLocalDpi xmlns:a14="http://schemas.microsoft.com/office/drawing/2010/main" val="0"/>
              </a:ext>
            </a:extLst>
          </a:blip>
          <a:srcRect r="30696"/>
          <a:stretch>
            <a:fillRect/>
          </a:stretch>
        </p:blipFill>
        <p:spPr bwMode="auto">
          <a:xfrm>
            <a:off x="11082528" y="150814"/>
            <a:ext cx="758105"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5"/>
          <p:cNvSpPr txBox="1">
            <a:spLocks noChangeArrowheads="1"/>
          </p:cNvSpPr>
          <p:nvPr/>
        </p:nvSpPr>
        <p:spPr bwMode="auto">
          <a:xfrm>
            <a:off x="349251" y="61914"/>
            <a:ext cx="6460067" cy="492125"/>
          </a:xfrm>
          <a:prstGeom prst="rect">
            <a:avLst/>
          </a:prstGeom>
          <a:noFill/>
          <a:ln w="9525">
            <a:noFill/>
            <a:miter lim="800000"/>
            <a:headEnd/>
            <a:tailEnd/>
          </a:ln>
          <a:effectLst/>
        </p:spPr>
        <p:txBody>
          <a:bodyPr lIns="0" anchor="b"/>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14309" eaLnBrk="1" hangingPunct="1">
              <a:spcBef>
                <a:spcPct val="20000"/>
              </a:spcBef>
              <a:buClr>
                <a:srgbClr val="000000"/>
              </a:buClr>
              <a:buFont typeface="Wingdings" charset="0"/>
              <a:buNone/>
              <a:defRPr/>
            </a:pPr>
            <a:r>
              <a:rPr lang="en-US" sz="1333" b="1" dirty="0">
                <a:solidFill>
                  <a:srgbClr val="000000"/>
                </a:solidFill>
                <a:latin typeface="Helvetica Neue" charset="0"/>
                <a:ea typeface="Helvetica Neue" charset="0"/>
                <a:cs typeface="Helvetica Neue" charset="0"/>
              </a:rPr>
              <a:t>IBM India Pvt. Ltd – Industrial</a:t>
            </a:r>
          </a:p>
        </p:txBody>
      </p:sp>
    </p:spTree>
    <p:extLst>
      <p:ext uri="{BB962C8B-B14F-4D97-AF65-F5344CB8AC3E}">
        <p14:creationId xmlns:p14="http://schemas.microsoft.com/office/powerpoint/2010/main" val="139347894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 id="2147483709" r:id="rId41"/>
    <p:sldLayoutId id="2147483710" r:id="rId42"/>
    <p:sldLayoutId id="2147483711" r:id="rId43"/>
    <p:sldLayoutId id="2147483712" r:id="rId44"/>
  </p:sldLayoutIdLst>
  <p:txStyles>
    <p:titleStyle>
      <a:lvl1pPr algn="l" rtl="0" eaLnBrk="1" fontAlgn="base" hangingPunct="1">
        <a:spcBef>
          <a:spcPct val="0"/>
        </a:spcBef>
        <a:spcAft>
          <a:spcPct val="0"/>
        </a:spcAft>
        <a:defRPr sz="2600">
          <a:solidFill>
            <a:schemeClr val="tx1"/>
          </a:solidFill>
          <a:latin typeface="HelvNeue Light for IBM" panose="020B0403020202020204" pitchFamily="34" charset="0"/>
          <a:ea typeface="HelvNeue Light for IBM" panose="020B0403020202020204" pitchFamily="34" charset="0"/>
          <a:cs typeface="HelvNeue Light for IBM" panose="020B0403020202020204" pitchFamily="34" charset="0"/>
        </a:defRPr>
      </a:lvl1pPr>
      <a:lvl2pPr algn="l" rtl="0" eaLnBrk="1" fontAlgn="base" hangingPunct="1">
        <a:spcBef>
          <a:spcPct val="0"/>
        </a:spcBef>
        <a:spcAft>
          <a:spcPct val="0"/>
        </a:spcAft>
        <a:defRPr sz="2933">
          <a:solidFill>
            <a:schemeClr val="tx1"/>
          </a:solidFill>
          <a:latin typeface="Arial" charset="0"/>
          <a:ea typeface="MS PGothic" panose="020B0600070205080204" pitchFamily="34" charset="-128"/>
          <a:cs typeface="MS PGothic" charset="0"/>
        </a:defRPr>
      </a:lvl2pPr>
      <a:lvl3pPr algn="l" rtl="0" eaLnBrk="1" fontAlgn="base" hangingPunct="1">
        <a:spcBef>
          <a:spcPct val="0"/>
        </a:spcBef>
        <a:spcAft>
          <a:spcPct val="0"/>
        </a:spcAft>
        <a:defRPr sz="2933">
          <a:solidFill>
            <a:schemeClr val="tx1"/>
          </a:solidFill>
          <a:latin typeface="Arial" charset="0"/>
          <a:ea typeface="MS PGothic" panose="020B0600070205080204" pitchFamily="34" charset="-128"/>
          <a:cs typeface="MS PGothic" charset="0"/>
        </a:defRPr>
      </a:lvl3pPr>
      <a:lvl4pPr algn="l" rtl="0" eaLnBrk="1" fontAlgn="base" hangingPunct="1">
        <a:spcBef>
          <a:spcPct val="0"/>
        </a:spcBef>
        <a:spcAft>
          <a:spcPct val="0"/>
        </a:spcAft>
        <a:defRPr sz="2933">
          <a:solidFill>
            <a:schemeClr val="tx1"/>
          </a:solidFill>
          <a:latin typeface="Arial" charset="0"/>
          <a:ea typeface="MS PGothic" panose="020B0600070205080204" pitchFamily="34" charset="-128"/>
          <a:cs typeface="MS PGothic" charset="0"/>
        </a:defRPr>
      </a:lvl4pPr>
      <a:lvl5pPr algn="l" rtl="0" eaLnBrk="1" fontAlgn="base" hangingPunct="1">
        <a:spcBef>
          <a:spcPct val="0"/>
        </a:spcBef>
        <a:spcAft>
          <a:spcPct val="0"/>
        </a:spcAft>
        <a:defRPr sz="2933">
          <a:solidFill>
            <a:schemeClr val="tx1"/>
          </a:solidFill>
          <a:latin typeface="Arial" charset="0"/>
          <a:ea typeface="MS PGothic" panose="020B0600070205080204" pitchFamily="34" charset="-128"/>
          <a:cs typeface="MS PGothic" charset="0"/>
        </a:defRPr>
      </a:lvl5pPr>
      <a:lvl6pPr marL="609585" algn="l" rtl="0" eaLnBrk="1" fontAlgn="base" hangingPunct="1">
        <a:spcBef>
          <a:spcPct val="0"/>
        </a:spcBef>
        <a:spcAft>
          <a:spcPct val="0"/>
        </a:spcAft>
        <a:defRPr sz="2933">
          <a:solidFill>
            <a:schemeClr val="tx1"/>
          </a:solidFill>
          <a:latin typeface="Arial" charset="0"/>
        </a:defRPr>
      </a:lvl6pPr>
      <a:lvl7pPr marL="1219170" algn="l" rtl="0" eaLnBrk="1" fontAlgn="base" hangingPunct="1">
        <a:spcBef>
          <a:spcPct val="0"/>
        </a:spcBef>
        <a:spcAft>
          <a:spcPct val="0"/>
        </a:spcAft>
        <a:defRPr sz="2933">
          <a:solidFill>
            <a:schemeClr val="tx1"/>
          </a:solidFill>
          <a:latin typeface="Arial" charset="0"/>
        </a:defRPr>
      </a:lvl7pPr>
      <a:lvl8pPr marL="1828754" algn="l" rtl="0" eaLnBrk="1" fontAlgn="base" hangingPunct="1">
        <a:spcBef>
          <a:spcPct val="0"/>
        </a:spcBef>
        <a:spcAft>
          <a:spcPct val="0"/>
        </a:spcAft>
        <a:defRPr sz="2933">
          <a:solidFill>
            <a:schemeClr val="tx1"/>
          </a:solidFill>
          <a:latin typeface="Arial" charset="0"/>
        </a:defRPr>
      </a:lvl8pPr>
      <a:lvl9pPr marL="2438339" algn="l" rtl="0" eaLnBrk="1" fontAlgn="base" hangingPunct="1">
        <a:spcBef>
          <a:spcPct val="0"/>
        </a:spcBef>
        <a:spcAft>
          <a:spcPct val="0"/>
        </a:spcAft>
        <a:defRPr sz="2933">
          <a:solidFill>
            <a:schemeClr val="tx1"/>
          </a:solidFill>
          <a:latin typeface="Arial" charset="0"/>
        </a:defRPr>
      </a:lvl9pPr>
    </p:titleStyle>
    <p:bodyStyle>
      <a:lvl1pPr marL="457189" indent="-457189" algn="l" rtl="0" eaLnBrk="1" fontAlgn="base" hangingPunct="1">
        <a:spcBef>
          <a:spcPct val="20000"/>
        </a:spcBef>
        <a:spcAft>
          <a:spcPct val="0"/>
        </a:spcAft>
        <a:buClr>
          <a:schemeClr val="tx1"/>
        </a:buClr>
        <a:buFont typeface="Wingdings" pitchFamily="2" charset="2"/>
        <a:defRPr sz="2200" b="1">
          <a:solidFill>
            <a:srgbClr val="000000"/>
          </a:solidFill>
          <a:latin typeface="HelvNeue Light for IBM" panose="020B0403020202020204" pitchFamily="34" charset="0"/>
          <a:ea typeface="HelvNeue Light for IBM" panose="020B0403020202020204" pitchFamily="34" charset="0"/>
          <a:cs typeface="HelvNeue Light for IBM" panose="020B0403020202020204" pitchFamily="34" charset="0"/>
        </a:defRPr>
      </a:lvl1pPr>
      <a:lvl2pPr marL="228594" indent="-218012" algn="l" rtl="0" eaLnBrk="1" fontAlgn="base" hangingPunct="1">
        <a:spcBef>
          <a:spcPct val="20000"/>
        </a:spcBef>
        <a:spcAft>
          <a:spcPct val="0"/>
        </a:spcAft>
        <a:buClr>
          <a:schemeClr val="tx1"/>
        </a:buClr>
        <a:buFont typeface="Wingdings" charset="2"/>
        <a:buChar char="§"/>
        <a:tabLst/>
        <a:defRPr sz="2000">
          <a:solidFill>
            <a:schemeClr val="tx1"/>
          </a:solidFill>
          <a:latin typeface="HelvNeue Light for IBM" panose="020B0403020202020204" pitchFamily="34" charset="0"/>
          <a:ea typeface="HelvNeue Light for IBM" panose="020B0403020202020204" pitchFamily="34" charset="0"/>
          <a:cs typeface="HelvNeue Light for IBM" panose="020B0403020202020204" pitchFamily="34" charset="0"/>
        </a:defRPr>
      </a:lvl2pPr>
      <a:lvl3pPr marL="543970" indent="-243411" algn="l" rtl="0" eaLnBrk="1" fontAlgn="base" hangingPunct="1">
        <a:spcBef>
          <a:spcPct val="20000"/>
        </a:spcBef>
        <a:spcAft>
          <a:spcPct val="0"/>
        </a:spcAft>
        <a:buClr>
          <a:schemeClr val="tx1"/>
        </a:buClr>
        <a:buFont typeface="Arial" pitchFamily="34" charset="0"/>
        <a:buChar char="–"/>
        <a:tabLst/>
        <a:defRPr sz="2000">
          <a:solidFill>
            <a:schemeClr val="tx1"/>
          </a:solidFill>
          <a:latin typeface="HelvNeue Light for IBM" panose="020B0403020202020204" pitchFamily="34" charset="0"/>
          <a:ea typeface="HelvNeue Light for IBM" panose="020B0403020202020204" pitchFamily="34" charset="0"/>
          <a:cs typeface="HelvNeue Light for IBM" panose="020B0403020202020204" pitchFamily="34" charset="0"/>
        </a:defRPr>
      </a:lvl3pPr>
      <a:lvl4pPr marL="846646" indent="-230712" algn="l" rtl="0" eaLnBrk="1" fontAlgn="base" hangingPunct="1">
        <a:spcBef>
          <a:spcPct val="20000"/>
        </a:spcBef>
        <a:spcAft>
          <a:spcPct val="0"/>
        </a:spcAft>
        <a:buClr>
          <a:schemeClr val="tx1"/>
        </a:buClr>
        <a:buChar char="•"/>
        <a:tabLst/>
        <a:defRPr sz="2000">
          <a:solidFill>
            <a:schemeClr val="tx1"/>
          </a:solidFill>
          <a:latin typeface="HelvNeue Light for IBM" panose="020B0403020202020204" pitchFamily="34" charset="0"/>
          <a:ea typeface="MS PGothic" panose="020B0600070205080204" pitchFamily="34" charset="-128"/>
          <a:cs typeface="HelvNeue Light for IBM" panose="020B0403020202020204" pitchFamily="34" charset="0"/>
        </a:defRPr>
      </a:lvl4pPr>
      <a:lvl5pPr marL="1075240" indent="-228594" algn="l" rtl="0" eaLnBrk="1" fontAlgn="base" hangingPunct="1">
        <a:spcBef>
          <a:spcPct val="20000"/>
        </a:spcBef>
        <a:spcAft>
          <a:spcPct val="0"/>
        </a:spcAft>
        <a:buClr>
          <a:schemeClr val="tx1"/>
        </a:buClr>
        <a:buChar char="»"/>
        <a:tabLst/>
        <a:defRPr sz="2000">
          <a:solidFill>
            <a:schemeClr val="tx1"/>
          </a:solidFill>
          <a:latin typeface="HelvNeue Light for IBM" panose="020B0403020202020204" pitchFamily="34" charset="0"/>
          <a:ea typeface="MS PGothic" panose="020B0600070205080204" pitchFamily="34" charset="-128"/>
          <a:cs typeface="HelvNeue Light for IBM" panose="020B0403020202020204" pitchFamily="34" charset="0"/>
        </a:defRPr>
      </a:lvl5pPr>
      <a:lvl6pPr marL="2901878" indent="-10584" algn="l" rtl="0" eaLnBrk="1" fontAlgn="base" hangingPunct="1">
        <a:spcBef>
          <a:spcPct val="20000"/>
        </a:spcBef>
        <a:spcAft>
          <a:spcPct val="0"/>
        </a:spcAft>
        <a:buClr>
          <a:schemeClr val="tx1"/>
        </a:buClr>
        <a:defRPr sz="1600">
          <a:solidFill>
            <a:schemeClr val="tx1"/>
          </a:solidFill>
          <a:latin typeface="+mn-lt"/>
        </a:defRPr>
      </a:lvl6pPr>
      <a:lvl7pPr marL="3511463" indent="-10584" algn="l" rtl="0" eaLnBrk="1" fontAlgn="base" hangingPunct="1">
        <a:spcBef>
          <a:spcPct val="20000"/>
        </a:spcBef>
        <a:spcAft>
          <a:spcPct val="0"/>
        </a:spcAft>
        <a:buClr>
          <a:schemeClr val="tx1"/>
        </a:buClr>
        <a:defRPr sz="1600">
          <a:solidFill>
            <a:schemeClr val="tx1"/>
          </a:solidFill>
          <a:latin typeface="+mn-lt"/>
        </a:defRPr>
      </a:lvl7pPr>
      <a:lvl8pPr marL="4121048" indent="-10584" algn="l" rtl="0" eaLnBrk="1" fontAlgn="base" hangingPunct="1">
        <a:spcBef>
          <a:spcPct val="20000"/>
        </a:spcBef>
        <a:spcAft>
          <a:spcPct val="0"/>
        </a:spcAft>
        <a:buClr>
          <a:schemeClr val="tx1"/>
        </a:buClr>
        <a:defRPr sz="1600">
          <a:solidFill>
            <a:schemeClr val="tx1"/>
          </a:solidFill>
          <a:latin typeface="+mn-lt"/>
        </a:defRPr>
      </a:lvl8pPr>
      <a:lvl9pPr marL="4730632" indent="-10584" algn="l" rtl="0" eaLnBrk="1" fontAlgn="base" hangingPunct="1">
        <a:spcBef>
          <a:spcPct val="20000"/>
        </a:spcBef>
        <a:spcAft>
          <a:spcPct val="0"/>
        </a:spcAft>
        <a:buClr>
          <a:schemeClr val="tx1"/>
        </a:buClr>
        <a:defRPr sz="1600">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jpe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jpeg"/></Relationships>
</file>

<file path=ppt/slides/_rels/slide14.xml.rels><?xml version="1.0" encoding="UTF-8" standalone="yes"?>
<Relationships xmlns="http://schemas.openxmlformats.org/package/2006/relationships"><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image" Target="../media/image29.png"/><Relationship Id="rId21" Type="http://schemas.openxmlformats.org/officeDocument/2006/relationships/image" Target="../media/image47.png"/><Relationship Id="rId34" Type="http://schemas.openxmlformats.org/officeDocument/2006/relationships/image" Target="../media/image1.jpe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33" Type="http://schemas.openxmlformats.org/officeDocument/2006/relationships/image" Target="../media/image59.png"/><Relationship Id="rId2" Type="http://schemas.openxmlformats.org/officeDocument/2006/relationships/notesSlide" Target="../notesSlides/notesSlide8.xml"/><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50.png"/><Relationship Id="rId32" Type="http://schemas.openxmlformats.org/officeDocument/2006/relationships/image" Target="../media/image58.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 Id="rId8" Type="http://schemas.openxmlformats.org/officeDocument/2006/relationships/image" Target="../media/image34.png"/></Relationships>
</file>

<file path=ppt/slides/_rels/slide15.xml.rels><?xml version="1.0" encoding="UTF-8" standalone="yes"?>
<Relationships xmlns="http://schemas.openxmlformats.org/package/2006/relationships"><Relationship Id="rId13" Type="http://schemas.openxmlformats.org/officeDocument/2006/relationships/image" Target="../media/image70.png"/><Relationship Id="rId18" Type="http://schemas.openxmlformats.org/officeDocument/2006/relationships/image" Target="../media/image75.png"/><Relationship Id="rId26" Type="http://schemas.openxmlformats.org/officeDocument/2006/relationships/image" Target="../media/image48.png"/><Relationship Id="rId3" Type="http://schemas.openxmlformats.org/officeDocument/2006/relationships/image" Target="../media/image60.png"/><Relationship Id="rId21" Type="http://schemas.openxmlformats.org/officeDocument/2006/relationships/image" Target="../media/image41.png"/><Relationship Id="rId34" Type="http://schemas.openxmlformats.org/officeDocument/2006/relationships/image" Target="../media/image81.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png"/><Relationship Id="rId25" Type="http://schemas.openxmlformats.org/officeDocument/2006/relationships/image" Target="../media/image36.png"/><Relationship Id="rId33" Type="http://schemas.openxmlformats.org/officeDocument/2006/relationships/image" Target="../media/image80.png"/><Relationship Id="rId2" Type="http://schemas.openxmlformats.org/officeDocument/2006/relationships/notesSlide" Target="../notesSlides/notesSlide9.xml"/><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79.png"/><Relationship Id="rId1" Type="http://schemas.openxmlformats.org/officeDocument/2006/relationships/slideLayout" Target="../slideLayouts/slideLayout17.xml"/><Relationship Id="rId6" Type="http://schemas.openxmlformats.org/officeDocument/2006/relationships/image" Target="../media/image63.png"/><Relationship Id="rId11" Type="http://schemas.openxmlformats.org/officeDocument/2006/relationships/image" Target="../media/image68.png"/><Relationship Id="rId24" Type="http://schemas.openxmlformats.org/officeDocument/2006/relationships/image" Target="../media/image32.png"/><Relationship Id="rId32" Type="http://schemas.openxmlformats.org/officeDocument/2006/relationships/image" Target="../media/image43.png"/><Relationship Id="rId5" Type="http://schemas.openxmlformats.org/officeDocument/2006/relationships/image" Target="../media/image62.png"/><Relationship Id="rId15" Type="http://schemas.openxmlformats.org/officeDocument/2006/relationships/image" Target="../media/image72.png"/><Relationship Id="rId23" Type="http://schemas.openxmlformats.org/officeDocument/2006/relationships/image" Target="../media/image31.png"/><Relationship Id="rId28" Type="http://schemas.openxmlformats.org/officeDocument/2006/relationships/image" Target="../media/image37.png"/><Relationship Id="rId10" Type="http://schemas.openxmlformats.org/officeDocument/2006/relationships/image" Target="../media/image67.png"/><Relationship Id="rId19" Type="http://schemas.openxmlformats.org/officeDocument/2006/relationships/image" Target="../media/image76.png"/><Relationship Id="rId31" Type="http://schemas.openxmlformats.org/officeDocument/2006/relationships/image" Target="../media/image40.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 Id="rId22" Type="http://schemas.openxmlformats.org/officeDocument/2006/relationships/image" Target="../media/image42.png"/><Relationship Id="rId27" Type="http://schemas.openxmlformats.org/officeDocument/2006/relationships/image" Target="../media/image78.png"/><Relationship Id="rId30" Type="http://schemas.openxmlformats.org/officeDocument/2006/relationships/image" Target="../media/image39.png"/><Relationship Id="rId8" Type="http://schemas.openxmlformats.org/officeDocument/2006/relationships/image" Target="../media/image6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4.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www.ibm.com/press/us/en/pressrelease/49088.wss" TargetMode="External"/><Relationship Id="rId13" Type="http://schemas.openxmlformats.org/officeDocument/2006/relationships/hyperlink" Target="https://www-03.ibm.com/press/us/en/pressrelease/50169.wss" TargetMode="External"/><Relationship Id="rId18" Type="http://schemas.openxmlformats.org/officeDocument/2006/relationships/image" Target="../media/image1.jpeg"/><Relationship Id="rId3" Type="http://schemas.openxmlformats.org/officeDocument/2006/relationships/hyperlink" Target="http://www-03.ibm.com/press/us/en/pressrelease/51655.wss" TargetMode="External"/><Relationship Id="rId7" Type="http://schemas.openxmlformats.org/officeDocument/2006/relationships/hyperlink" Target="http://www.coindesk.com/ibm-completes-blockchain-trial-french-bank-credit-mutuel/" TargetMode="External"/><Relationship Id="rId12" Type="http://schemas.openxmlformats.org/officeDocument/2006/relationships/hyperlink" Target="http://www.coindesk.com/ibm-building-blockchain-dispute-resolution-system/" TargetMode="External"/><Relationship Id="rId17" Type="http://schemas.openxmlformats.org/officeDocument/2006/relationships/hyperlink" Target="http://www.coindesk.com/ubs-blockchain-prototype-trade/" TargetMode="External"/><Relationship Id="rId2" Type="http://schemas.openxmlformats.org/officeDocument/2006/relationships/notesSlide" Target="../notesSlides/notesSlide11.xml"/><Relationship Id="rId16" Type="http://schemas.openxmlformats.org/officeDocument/2006/relationships/hyperlink" Target="http://www.coindesk.com/cls-to-develop-blockchain-payment-service-on-ibm-fabric/" TargetMode="External"/><Relationship Id="rId1" Type="http://schemas.openxmlformats.org/officeDocument/2006/relationships/slideLayout" Target="../slideLayouts/slideLayout2.xml"/><Relationship Id="rId6" Type="http://schemas.openxmlformats.org/officeDocument/2006/relationships/hyperlink" Target="https://www.abnamro.com/en/newsroom/blogs/arjan-van-os/2016/walking-the-walk-exploring-the-power-of-blockchain.html" TargetMode="External"/><Relationship Id="rId11" Type="http://schemas.openxmlformats.org/officeDocument/2006/relationships/hyperlink" Target="http://www.coindesk.com/mizuho-digital-currency-powered-blockchain-settlement/" TargetMode="External"/><Relationship Id="rId5" Type="http://schemas.openxmlformats.org/officeDocument/2006/relationships/hyperlink" Target="http://www.coindesk.com/hsbc-bank-america-blockchain-supply-chain/" TargetMode="External"/><Relationship Id="rId15" Type="http://schemas.openxmlformats.org/officeDocument/2006/relationships/hyperlink" Target="http://www.coindesk.com/ibm-china-unionpay-blockchain-loyalty-exchange/" TargetMode="External"/><Relationship Id="rId10" Type="http://schemas.openxmlformats.org/officeDocument/2006/relationships/hyperlink" Target="http://www.ibtimes.co.uk/linux-foundation-blockchain-consortium-digital-asset-ibm-credits-london-stock-exchange-board-1533798" TargetMode="External"/><Relationship Id="rId4" Type="http://schemas.openxmlformats.org/officeDocument/2006/relationships/hyperlink" Target="http://www-03.ibm.com/press/us/en/pressrelease/51712.wss" TargetMode="External"/><Relationship Id="rId9" Type="http://schemas.openxmlformats.org/officeDocument/2006/relationships/hyperlink" Target="http://www.ibm.com/press/us/en/pressrelease/49029.wss" TargetMode="External"/><Relationship Id="rId14" Type="http://schemas.openxmlformats.org/officeDocument/2006/relationships/hyperlink" Target="https://www-03.ibm.com/press/us/en/pressrelease/50544.wss"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mailto:chandan1@in.ibm.com"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en.wikipedia.org/wiki/Unit_of_account" TargetMode="External"/><Relationship Id="rId2" Type="http://schemas.openxmlformats.org/officeDocument/2006/relationships/hyperlink" Target="https://en.wikipedia.org/wiki/Medium_of_exchange" TargetMode="External"/><Relationship Id="rId1" Type="http://schemas.openxmlformats.org/officeDocument/2006/relationships/slideLayout" Target="../slideLayouts/slideLayout2.xml"/><Relationship Id="rId5" Type="http://schemas.openxmlformats.org/officeDocument/2006/relationships/hyperlink" Target="https://en.wikipedia.org/wiki/Money" TargetMode="External"/><Relationship Id="rId4" Type="http://schemas.openxmlformats.org/officeDocument/2006/relationships/hyperlink" Target="https://en.wikipedia.org/wiki/Store_of_valu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3172968" y="2171700"/>
            <a:ext cx="8668512" cy="914400"/>
          </a:xfrm>
        </p:spPr>
        <p:txBody>
          <a:bodyPr/>
          <a:lstStyle/>
          <a:p>
            <a:pPr marL="0" indent="0">
              <a:buNone/>
            </a:pPr>
            <a:r>
              <a:rPr lang="en-GB" sz="2667" i="1" dirty="0"/>
              <a:t>From Efficiencies to Network Plays</a:t>
            </a:r>
            <a:endParaRPr lang="en-GB" sz="2667" b="1" dirty="0"/>
          </a:p>
          <a:p>
            <a:endParaRPr lang="en-GB" sz="2667" b="1" dirty="0"/>
          </a:p>
        </p:txBody>
      </p:sp>
      <p:sp>
        <p:nvSpPr>
          <p:cNvPr id="12" name="Text Placeholder 11">
            <a:extLst>
              <a:ext uri="{FF2B5EF4-FFF2-40B4-BE49-F238E27FC236}">
                <a16:creationId xmlns:a16="http://schemas.microsoft.com/office/drawing/2014/main" id="{68F6D4B1-E57A-B840-962D-9F8E818414FF}"/>
              </a:ext>
            </a:extLst>
          </p:cNvPr>
          <p:cNvSpPr>
            <a:spLocks noGrp="1"/>
          </p:cNvSpPr>
          <p:nvPr>
            <p:ph type="body" sz="quarter" idx="18"/>
          </p:nvPr>
        </p:nvSpPr>
        <p:spPr>
          <a:xfrm>
            <a:off x="3172968" y="4572000"/>
            <a:ext cx="8668512" cy="964503"/>
          </a:xfrm>
        </p:spPr>
        <p:txBody>
          <a:bodyPr>
            <a:noAutofit/>
          </a:bodyPr>
          <a:lstStyle/>
          <a:p>
            <a:pPr marL="0" indent="0">
              <a:buNone/>
            </a:pPr>
            <a:r>
              <a:rPr lang="en-GB" sz="2400" b="1" dirty="0"/>
              <a:t>Date: </a:t>
            </a:r>
            <a:r>
              <a:rPr lang="en-GB" sz="2400" dirty="0"/>
              <a:t>August 3</a:t>
            </a:r>
            <a:r>
              <a:rPr lang="en-GB" sz="2400" baseline="30000" dirty="0"/>
              <a:t>rd</a:t>
            </a:r>
            <a:r>
              <a:rPr lang="en-GB" sz="2400" dirty="0"/>
              <a:t> 2018</a:t>
            </a:r>
          </a:p>
          <a:p>
            <a:pPr marL="0" indent="0">
              <a:buNone/>
            </a:pPr>
            <a:r>
              <a:rPr lang="en-GB" sz="2400" b="1" dirty="0"/>
              <a:t>Location: </a:t>
            </a:r>
            <a:r>
              <a:rPr lang="en-US" sz="2400" dirty="0">
                <a:sym typeface="Arial"/>
              </a:rPr>
              <a:t>15th India International Gold Convention 2018, Kochi</a:t>
            </a:r>
          </a:p>
          <a:p>
            <a:pPr marL="0" indent="0">
              <a:buNone/>
            </a:pPr>
            <a:endParaRPr lang="en-GB" sz="2400" dirty="0"/>
          </a:p>
        </p:txBody>
      </p:sp>
      <p:sp>
        <p:nvSpPr>
          <p:cNvPr id="5" name="Title 4"/>
          <p:cNvSpPr>
            <a:spLocks noGrp="1"/>
          </p:cNvSpPr>
          <p:nvPr>
            <p:ph type="title"/>
          </p:nvPr>
        </p:nvSpPr>
        <p:spPr>
          <a:xfrm>
            <a:off x="3172968" y="341375"/>
            <a:ext cx="8665464" cy="1830324"/>
          </a:xfrm>
        </p:spPr>
        <p:txBody>
          <a:bodyPr/>
          <a:lstStyle/>
          <a:p>
            <a:r>
              <a:rPr lang="en-GB" sz="5333" b="1" dirty="0"/>
              <a:t>Blockchain Evolution</a:t>
            </a:r>
          </a:p>
        </p:txBody>
      </p:sp>
      <p:sp>
        <p:nvSpPr>
          <p:cNvPr id="3" name="TextBox 2">
            <a:extLst>
              <a:ext uri="{FF2B5EF4-FFF2-40B4-BE49-F238E27FC236}">
                <a16:creationId xmlns:a16="http://schemas.microsoft.com/office/drawing/2014/main" id="{DA94018A-0384-2342-A05F-547EECD2C4DD}"/>
              </a:ext>
            </a:extLst>
          </p:cNvPr>
          <p:cNvSpPr txBox="1"/>
          <p:nvPr/>
        </p:nvSpPr>
        <p:spPr>
          <a:xfrm>
            <a:off x="1219200" y="4465504"/>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chorCtr="1">
            <a:noAutofit/>
          </a:bodyPr>
          <a:lstStyle/>
          <a:p>
            <a:pPr defTabSz="623360" hangingPunct="0"/>
            <a:endParaRPr lang="en-US" sz="1600">
              <a:solidFill>
                <a:srgbClr val="1A1918"/>
              </a:solidFill>
              <a:sym typeface="Arial"/>
            </a:endParaRPr>
          </a:p>
        </p:txBody>
      </p:sp>
    </p:spTree>
    <p:extLst>
      <p:ext uri="{BB962C8B-B14F-4D97-AF65-F5344CB8AC3E}">
        <p14:creationId xmlns:p14="http://schemas.microsoft.com/office/powerpoint/2010/main" val="253336623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7948699" y="1312309"/>
            <a:ext cx="2781300" cy="236149"/>
          </a:xfrm>
          <a:prstGeom prst="rect">
            <a:avLst/>
          </a:prstGeom>
        </p:spPr>
        <p:txBody>
          <a:bodyPr vert="horz" wrap="square" lIns="0" tIns="12123" rIns="0" bIns="0" rtlCol="0">
            <a:spAutoFit/>
          </a:bodyPr>
          <a:lstStyle/>
          <a:p>
            <a:pPr marL="11545">
              <a:spcBef>
                <a:spcPts val="96"/>
              </a:spcBef>
            </a:pPr>
            <a:r>
              <a:rPr sz="1455" b="1" spc="-9" dirty="0">
                <a:solidFill>
                  <a:srgbClr val="C00000"/>
                </a:solidFill>
                <a:latin typeface="Calibri"/>
                <a:cs typeface="Calibri"/>
              </a:rPr>
              <a:t>bitcoin </a:t>
            </a:r>
            <a:r>
              <a:rPr sz="1455" b="1" dirty="0">
                <a:solidFill>
                  <a:srgbClr val="C00000"/>
                </a:solidFill>
                <a:latin typeface="Calibri"/>
                <a:cs typeface="Calibri"/>
              </a:rPr>
              <a:t>supply and </a:t>
            </a:r>
            <a:r>
              <a:rPr sz="1455" b="1" spc="-4" dirty="0">
                <a:solidFill>
                  <a:srgbClr val="C00000"/>
                </a:solidFill>
                <a:latin typeface="Calibri"/>
                <a:cs typeface="Calibri"/>
              </a:rPr>
              <a:t>inflation</a:t>
            </a:r>
            <a:r>
              <a:rPr sz="1455" b="1" spc="23" dirty="0">
                <a:solidFill>
                  <a:srgbClr val="C00000"/>
                </a:solidFill>
                <a:latin typeface="Calibri"/>
                <a:cs typeface="Calibri"/>
              </a:rPr>
              <a:t> </a:t>
            </a:r>
            <a:r>
              <a:rPr sz="1455" b="1" spc="-9" dirty="0">
                <a:solidFill>
                  <a:srgbClr val="C00000"/>
                </a:solidFill>
                <a:latin typeface="Calibri"/>
                <a:cs typeface="Calibri"/>
              </a:rPr>
              <a:t>forecast</a:t>
            </a:r>
            <a:endParaRPr sz="1455">
              <a:solidFill>
                <a:srgbClr val="C00000"/>
              </a:solidFill>
              <a:latin typeface="Calibri"/>
              <a:cs typeface="Calibri"/>
            </a:endParaRPr>
          </a:p>
        </p:txBody>
      </p:sp>
      <p:sp>
        <p:nvSpPr>
          <p:cNvPr id="7" name="object 7"/>
          <p:cNvSpPr/>
          <p:nvPr/>
        </p:nvSpPr>
        <p:spPr>
          <a:xfrm>
            <a:off x="7324899" y="1548458"/>
            <a:ext cx="4028901" cy="2552007"/>
          </a:xfrm>
          <a:prstGeom prst="rect">
            <a:avLst/>
          </a:prstGeom>
          <a:blipFill>
            <a:blip r:embed="rId2" cstate="print"/>
            <a:stretch>
              <a:fillRect/>
            </a:stretch>
          </a:blipFill>
        </p:spPr>
        <p:txBody>
          <a:bodyPr wrap="square" lIns="0" tIns="0" rIns="0" bIns="0" rtlCol="0"/>
          <a:lstStyle/>
          <a:p>
            <a:endParaRPr sz="2400"/>
          </a:p>
        </p:txBody>
      </p:sp>
      <p:sp>
        <p:nvSpPr>
          <p:cNvPr id="8" name="object 8"/>
          <p:cNvSpPr txBox="1"/>
          <p:nvPr/>
        </p:nvSpPr>
        <p:spPr>
          <a:xfrm>
            <a:off x="7948699" y="4199523"/>
            <a:ext cx="3252537" cy="460056"/>
          </a:xfrm>
          <a:prstGeom prst="rect">
            <a:avLst/>
          </a:prstGeom>
        </p:spPr>
        <p:txBody>
          <a:bodyPr vert="horz" wrap="square" lIns="0" tIns="12123" rIns="0" bIns="0" rtlCol="0">
            <a:spAutoFit/>
          </a:bodyPr>
          <a:lstStyle/>
          <a:p>
            <a:pPr marL="11545" marR="4619">
              <a:spcBef>
                <a:spcPts val="96"/>
              </a:spcBef>
            </a:pPr>
            <a:r>
              <a:rPr sz="1455" b="1" spc="-9" dirty="0">
                <a:solidFill>
                  <a:srgbClr val="C00000"/>
                </a:solidFill>
                <a:latin typeface="Calibri"/>
                <a:cs typeface="Calibri"/>
              </a:rPr>
              <a:t>bitcoin </a:t>
            </a:r>
            <a:r>
              <a:rPr sz="1455" b="1" spc="-4" dirty="0">
                <a:solidFill>
                  <a:srgbClr val="C00000"/>
                </a:solidFill>
                <a:latin typeface="Calibri"/>
                <a:cs typeface="Calibri"/>
              </a:rPr>
              <a:t>mining </a:t>
            </a:r>
            <a:r>
              <a:rPr sz="1455" b="1" spc="-9" dirty="0">
                <a:solidFill>
                  <a:srgbClr val="C00000"/>
                </a:solidFill>
                <a:latin typeface="Calibri"/>
                <a:cs typeface="Calibri"/>
              </a:rPr>
              <a:t>difficulty </a:t>
            </a:r>
            <a:r>
              <a:rPr sz="1455" b="1" dirty="0">
                <a:solidFill>
                  <a:srgbClr val="C00000"/>
                </a:solidFill>
                <a:latin typeface="Calibri"/>
                <a:cs typeface="Calibri"/>
              </a:rPr>
              <a:t>has </a:t>
            </a:r>
            <a:r>
              <a:rPr sz="1455" b="1" spc="-9" dirty="0">
                <a:solidFill>
                  <a:srgbClr val="C00000"/>
                </a:solidFill>
                <a:latin typeface="Calibri"/>
                <a:cs typeface="Calibri"/>
              </a:rPr>
              <a:t>dramatically  </a:t>
            </a:r>
            <a:r>
              <a:rPr sz="1455" b="1" dirty="0">
                <a:solidFill>
                  <a:srgbClr val="C00000"/>
                </a:solidFill>
                <a:latin typeface="Calibri"/>
                <a:cs typeface="Calibri"/>
              </a:rPr>
              <a:t>increased due </a:t>
            </a:r>
            <a:r>
              <a:rPr sz="1455" b="1" spc="-13" dirty="0">
                <a:solidFill>
                  <a:srgbClr val="C00000"/>
                </a:solidFill>
                <a:latin typeface="Calibri"/>
                <a:cs typeface="Calibri"/>
              </a:rPr>
              <a:t>to </a:t>
            </a:r>
            <a:r>
              <a:rPr sz="1455" b="1" spc="-9" dirty="0">
                <a:solidFill>
                  <a:srgbClr val="C00000"/>
                </a:solidFill>
                <a:latin typeface="Calibri"/>
                <a:cs typeface="Calibri"/>
              </a:rPr>
              <a:t>intensified</a:t>
            </a:r>
            <a:r>
              <a:rPr sz="1455" b="1" spc="-32" dirty="0">
                <a:solidFill>
                  <a:srgbClr val="C00000"/>
                </a:solidFill>
                <a:latin typeface="Calibri"/>
                <a:cs typeface="Calibri"/>
              </a:rPr>
              <a:t> </a:t>
            </a:r>
            <a:r>
              <a:rPr sz="1455" b="1" spc="-4" dirty="0">
                <a:solidFill>
                  <a:srgbClr val="C00000"/>
                </a:solidFill>
                <a:latin typeface="Calibri"/>
                <a:cs typeface="Calibri"/>
              </a:rPr>
              <a:t>competition</a:t>
            </a:r>
            <a:endParaRPr sz="1455">
              <a:solidFill>
                <a:srgbClr val="C00000"/>
              </a:solidFill>
              <a:latin typeface="Calibri"/>
              <a:cs typeface="Calibri"/>
            </a:endParaRPr>
          </a:p>
        </p:txBody>
      </p:sp>
      <p:sp>
        <p:nvSpPr>
          <p:cNvPr id="9" name="object 9"/>
          <p:cNvSpPr/>
          <p:nvPr/>
        </p:nvSpPr>
        <p:spPr>
          <a:xfrm>
            <a:off x="7324898" y="4659578"/>
            <a:ext cx="3876337" cy="2198421"/>
          </a:xfrm>
          <a:prstGeom prst="rect">
            <a:avLst/>
          </a:prstGeom>
          <a:blipFill>
            <a:blip r:embed="rId3" cstate="print"/>
            <a:stretch>
              <a:fillRect/>
            </a:stretch>
          </a:blipFill>
        </p:spPr>
        <p:txBody>
          <a:bodyPr wrap="square" lIns="0" tIns="0" rIns="0" bIns="0" rtlCol="0"/>
          <a:lstStyle/>
          <a:p>
            <a:endParaRPr sz="2400"/>
          </a:p>
        </p:txBody>
      </p:sp>
      <p:sp>
        <p:nvSpPr>
          <p:cNvPr id="4" name="Title 3"/>
          <p:cNvSpPr>
            <a:spLocks noGrp="1"/>
          </p:cNvSpPr>
          <p:nvPr>
            <p:ph type="title"/>
          </p:nvPr>
        </p:nvSpPr>
        <p:spPr/>
        <p:txBody>
          <a:bodyPr/>
          <a:lstStyle/>
          <a:p>
            <a:r>
              <a:rPr lang="en-US" sz="2800" b="1" dirty="0">
                <a:solidFill>
                  <a:srgbClr val="0070C0"/>
                </a:solidFill>
                <a:latin typeface="Arial" panose="020B0604020202020204" pitchFamily="34" charset="0"/>
                <a:cs typeface="Arial" panose="020B0604020202020204" pitchFamily="34" charset="0"/>
              </a:rPr>
              <a:t>The Supply of Cryptocurrency</a:t>
            </a:r>
          </a:p>
        </p:txBody>
      </p:sp>
      <p:sp>
        <p:nvSpPr>
          <p:cNvPr id="10" name="Content Placeholder 9"/>
          <p:cNvSpPr>
            <a:spLocks noGrp="1"/>
          </p:cNvSpPr>
          <p:nvPr>
            <p:ph idx="1"/>
          </p:nvPr>
        </p:nvSpPr>
        <p:spPr>
          <a:xfrm>
            <a:off x="838200" y="1825625"/>
            <a:ext cx="6316579" cy="4671428"/>
          </a:xfrm>
        </p:spPr>
        <p:txBody>
          <a:bodyPr>
            <a:noAutofit/>
          </a:bodyPr>
          <a:lstStyle/>
          <a:p>
            <a:pPr marL="324411" indent="-312866">
              <a:lnSpc>
                <a:spcPct val="100000"/>
              </a:lnSpc>
              <a:spcBef>
                <a:spcPts val="600"/>
              </a:spcBef>
              <a:spcAft>
                <a:spcPts val="1200"/>
              </a:spcAft>
              <a:buFont typeface="MS UI Gothic"/>
              <a:buChar char="❖"/>
              <a:tabLst>
                <a:tab pos="324411" algn="l"/>
                <a:tab pos="324988" algn="l"/>
              </a:tabLst>
            </a:pPr>
            <a:r>
              <a:rPr lang="en-US" sz="2000" b="1" dirty="0">
                <a:solidFill>
                  <a:srgbClr val="0070C0"/>
                </a:solidFill>
                <a:cs typeface="Arial"/>
              </a:rPr>
              <a:t>A </a:t>
            </a:r>
            <a:r>
              <a:rPr lang="en-US" sz="2000" b="1" spc="-4" dirty="0">
                <a:solidFill>
                  <a:srgbClr val="0070C0"/>
                </a:solidFill>
                <a:cs typeface="Arial"/>
              </a:rPr>
              <a:t>cryptocurrency’s </a:t>
            </a:r>
            <a:r>
              <a:rPr lang="en-US" sz="2000" b="1" dirty="0">
                <a:solidFill>
                  <a:srgbClr val="0070C0"/>
                </a:solidFill>
                <a:cs typeface="Arial"/>
              </a:rPr>
              <a:t>supply </a:t>
            </a:r>
            <a:r>
              <a:rPr lang="en-US" sz="2000" b="1" spc="-4" dirty="0">
                <a:solidFill>
                  <a:srgbClr val="0070C0"/>
                </a:solidFill>
                <a:cs typeface="Arial"/>
              </a:rPr>
              <a:t>is predetermined before </a:t>
            </a:r>
            <a:r>
              <a:rPr lang="en-US" sz="2000" b="1" dirty="0">
                <a:solidFill>
                  <a:srgbClr val="0070C0"/>
                </a:solidFill>
                <a:cs typeface="Arial"/>
              </a:rPr>
              <a:t>its</a:t>
            </a:r>
            <a:r>
              <a:rPr lang="en-US" sz="2000" b="1" spc="-208" dirty="0">
                <a:solidFill>
                  <a:srgbClr val="0070C0"/>
                </a:solidFill>
                <a:cs typeface="Arial"/>
              </a:rPr>
              <a:t> </a:t>
            </a:r>
            <a:r>
              <a:rPr lang="en-US" sz="2000" b="1" dirty="0">
                <a:solidFill>
                  <a:srgbClr val="0070C0"/>
                </a:solidFill>
                <a:cs typeface="Arial"/>
              </a:rPr>
              <a:t>creation.</a:t>
            </a:r>
            <a:endParaRPr lang="en-US" sz="2000" b="1" spc="-4" dirty="0">
              <a:solidFill>
                <a:srgbClr val="0070C0"/>
              </a:solidFill>
              <a:cs typeface="Arial"/>
            </a:endParaRPr>
          </a:p>
          <a:p>
            <a:pPr marL="324411" marR="6349" indent="-312866">
              <a:lnSpc>
                <a:spcPct val="100000"/>
              </a:lnSpc>
              <a:spcBef>
                <a:spcPts val="600"/>
              </a:spcBef>
              <a:spcAft>
                <a:spcPts val="1200"/>
              </a:spcAft>
              <a:buFont typeface="MS UI Gothic"/>
              <a:buChar char="❖"/>
              <a:tabLst>
                <a:tab pos="324411" algn="l"/>
                <a:tab pos="324988" algn="l"/>
              </a:tabLst>
            </a:pPr>
            <a:r>
              <a:rPr lang="en-US" sz="2000" b="1" spc="-4" dirty="0">
                <a:solidFill>
                  <a:srgbClr val="0070C0"/>
                </a:solidFill>
                <a:cs typeface="Arial"/>
              </a:rPr>
              <a:t>Bitcoin will reach a limit of 21 million around the year of 2140 </a:t>
            </a:r>
            <a:r>
              <a:rPr lang="en-US" sz="2000" spc="-9" dirty="0">
                <a:solidFill>
                  <a:schemeClr val="tx1">
                    <a:lumMod val="50000"/>
                    <a:lumOff val="50000"/>
                  </a:schemeClr>
                </a:solidFill>
                <a:cs typeface="Arial"/>
              </a:rPr>
              <a:t>then </a:t>
            </a:r>
            <a:r>
              <a:rPr lang="en-US" sz="2000" spc="-4" dirty="0">
                <a:solidFill>
                  <a:schemeClr val="tx1">
                    <a:lumMod val="50000"/>
                    <a:lumOff val="50000"/>
                  </a:schemeClr>
                </a:solidFill>
                <a:cs typeface="Arial"/>
              </a:rPr>
              <a:t>stop </a:t>
            </a:r>
            <a:r>
              <a:rPr lang="en-US" sz="2000" spc="-13" dirty="0">
                <a:solidFill>
                  <a:schemeClr val="tx1">
                    <a:lumMod val="50000"/>
                    <a:lumOff val="50000"/>
                  </a:schemeClr>
                </a:solidFill>
                <a:cs typeface="Arial"/>
              </a:rPr>
              <a:t>to </a:t>
            </a:r>
            <a:r>
              <a:rPr lang="en-US" sz="2000" spc="-23" dirty="0">
                <a:solidFill>
                  <a:schemeClr val="tx1">
                    <a:lumMod val="50000"/>
                    <a:lumOff val="50000"/>
                  </a:schemeClr>
                </a:solidFill>
                <a:cs typeface="Arial"/>
              </a:rPr>
              <a:t>grow. </a:t>
            </a:r>
            <a:r>
              <a:rPr lang="en-US" sz="2000" spc="-9" dirty="0">
                <a:solidFill>
                  <a:schemeClr val="tx1">
                    <a:lumMod val="50000"/>
                    <a:lumOff val="50000"/>
                  </a:schemeClr>
                </a:solidFill>
                <a:cs typeface="Arial"/>
              </a:rPr>
              <a:t>The  </a:t>
            </a:r>
            <a:r>
              <a:rPr lang="en-US" sz="2000" dirty="0">
                <a:solidFill>
                  <a:schemeClr val="tx1">
                    <a:lumMod val="50000"/>
                    <a:lumOff val="50000"/>
                  </a:schemeClr>
                </a:solidFill>
                <a:cs typeface="Arial"/>
              </a:rPr>
              <a:t>speed of bitcoin </a:t>
            </a:r>
            <a:r>
              <a:rPr lang="en-US" sz="2000" spc="-9" dirty="0">
                <a:solidFill>
                  <a:schemeClr val="tx1">
                    <a:lumMod val="50000"/>
                    <a:lumOff val="50000"/>
                  </a:schemeClr>
                </a:solidFill>
                <a:cs typeface="Arial"/>
              </a:rPr>
              <a:t>growth </a:t>
            </a:r>
            <a:r>
              <a:rPr lang="en-US" sz="2000" spc="-4" dirty="0">
                <a:solidFill>
                  <a:schemeClr val="tx1">
                    <a:lumMod val="50000"/>
                    <a:lumOff val="50000"/>
                  </a:schemeClr>
                </a:solidFill>
                <a:cs typeface="Arial"/>
              </a:rPr>
              <a:t>is </a:t>
            </a:r>
            <a:r>
              <a:rPr lang="en-US" sz="2000" spc="-9" dirty="0">
                <a:solidFill>
                  <a:schemeClr val="tx1">
                    <a:lumMod val="50000"/>
                    <a:lumOff val="50000"/>
                  </a:schemeClr>
                </a:solidFill>
                <a:cs typeface="Arial"/>
              </a:rPr>
              <a:t>fixed. </a:t>
            </a:r>
            <a:r>
              <a:rPr lang="en-US" sz="2000" b="1" spc="-4" dirty="0">
                <a:solidFill>
                  <a:srgbClr val="0070C0"/>
                </a:solidFill>
                <a:cs typeface="Arial"/>
              </a:rPr>
              <a:t>Currently ~80% of bitcoins have been mined.</a:t>
            </a:r>
            <a:endParaRPr lang="en-US" sz="2000" dirty="0">
              <a:solidFill>
                <a:schemeClr val="tx1">
                  <a:lumMod val="50000"/>
                  <a:lumOff val="50000"/>
                </a:schemeClr>
              </a:solidFill>
              <a:cs typeface="Arial"/>
            </a:endParaRPr>
          </a:p>
          <a:p>
            <a:pPr marL="324411" indent="-312866">
              <a:lnSpc>
                <a:spcPct val="100000"/>
              </a:lnSpc>
              <a:spcBef>
                <a:spcPts val="600"/>
              </a:spcBef>
              <a:spcAft>
                <a:spcPts val="1200"/>
              </a:spcAft>
              <a:buFont typeface="MS UI Gothic"/>
              <a:buChar char="❖"/>
              <a:tabLst>
                <a:tab pos="324411" algn="l"/>
                <a:tab pos="324988" algn="l"/>
              </a:tabLst>
            </a:pPr>
            <a:r>
              <a:rPr lang="en-US" sz="2000" dirty="0">
                <a:solidFill>
                  <a:schemeClr val="tx1">
                    <a:lumMod val="50000"/>
                    <a:lumOff val="50000"/>
                  </a:schemeClr>
                </a:solidFill>
                <a:cs typeface="Arial"/>
              </a:rPr>
              <a:t>In contrast, Ether’s supply </a:t>
            </a:r>
            <a:r>
              <a:rPr lang="en-US" sz="2000" spc="-9" dirty="0">
                <a:solidFill>
                  <a:schemeClr val="tx1">
                    <a:lumMod val="50000"/>
                    <a:lumOff val="50000"/>
                  </a:schemeClr>
                </a:solidFill>
                <a:cs typeface="Arial"/>
              </a:rPr>
              <a:t>will </a:t>
            </a:r>
            <a:r>
              <a:rPr lang="en-US" sz="2000" spc="-4" dirty="0">
                <a:solidFill>
                  <a:schemeClr val="tx1">
                    <a:lumMod val="50000"/>
                    <a:lumOff val="50000"/>
                  </a:schemeClr>
                </a:solidFill>
                <a:cs typeface="Arial"/>
              </a:rPr>
              <a:t>grow infinitively as </a:t>
            </a:r>
            <a:r>
              <a:rPr lang="en-US" sz="2000" dirty="0">
                <a:solidFill>
                  <a:schemeClr val="tx1">
                    <a:lumMod val="50000"/>
                    <a:lumOff val="50000"/>
                  </a:schemeClr>
                </a:solidFill>
                <a:cs typeface="Arial"/>
              </a:rPr>
              <a:t>of </a:t>
            </a:r>
            <a:r>
              <a:rPr lang="en-US" sz="2000" spc="-32" dirty="0">
                <a:solidFill>
                  <a:schemeClr val="tx1">
                    <a:lumMod val="50000"/>
                    <a:lumOff val="50000"/>
                  </a:schemeClr>
                </a:solidFill>
                <a:cs typeface="Arial"/>
              </a:rPr>
              <a:t>now, </a:t>
            </a:r>
            <a:r>
              <a:rPr lang="en-US" sz="2000" dirty="0">
                <a:solidFill>
                  <a:schemeClr val="tx1">
                    <a:lumMod val="50000"/>
                    <a:lumOff val="50000"/>
                  </a:schemeClr>
                </a:solidFill>
                <a:cs typeface="Arial"/>
              </a:rPr>
              <a:t>subject to </a:t>
            </a:r>
            <a:r>
              <a:rPr lang="en-US" sz="2000" spc="-4" dirty="0">
                <a:solidFill>
                  <a:schemeClr val="tx1">
                    <a:lumMod val="50000"/>
                    <a:lumOff val="50000"/>
                  </a:schemeClr>
                </a:solidFill>
                <a:cs typeface="Arial"/>
              </a:rPr>
              <a:t>future</a:t>
            </a:r>
            <a:r>
              <a:rPr lang="en-US" sz="2000" dirty="0">
                <a:solidFill>
                  <a:schemeClr val="tx1">
                    <a:lumMod val="50000"/>
                    <a:lumOff val="50000"/>
                  </a:schemeClr>
                </a:solidFill>
                <a:cs typeface="Arial"/>
              </a:rPr>
              <a:t> changes.</a:t>
            </a:r>
            <a:endParaRPr lang="en-US" sz="2000" spc="-4" dirty="0">
              <a:solidFill>
                <a:schemeClr val="tx1">
                  <a:lumMod val="50000"/>
                  <a:lumOff val="50000"/>
                </a:schemeClr>
              </a:solidFill>
              <a:cs typeface="Arial"/>
            </a:endParaRPr>
          </a:p>
          <a:p>
            <a:pPr marL="324411" marR="4619" indent="-312866">
              <a:lnSpc>
                <a:spcPct val="100000"/>
              </a:lnSpc>
              <a:spcBef>
                <a:spcPts val="600"/>
              </a:spcBef>
              <a:spcAft>
                <a:spcPts val="1200"/>
              </a:spcAft>
              <a:buFont typeface="MS UI Gothic"/>
              <a:buChar char="❖"/>
              <a:tabLst>
                <a:tab pos="324411" algn="l"/>
                <a:tab pos="324988" algn="l"/>
              </a:tabLst>
            </a:pPr>
            <a:r>
              <a:rPr lang="en-US" sz="2000" spc="-4" dirty="0">
                <a:solidFill>
                  <a:schemeClr val="tx1">
                    <a:lumMod val="50000"/>
                    <a:lumOff val="50000"/>
                  </a:schemeClr>
                </a:solidFill>
                <a:cs typeface="Arial"/>
              </a:rPr>
              <a:t>All </a:t>
            </a:r>
            <a:r>
              <a:rPr lang="en-US" sz="2000" spc="-9" dirty="0">
                <a:solidFill>
                  <a:schemeClr val="tx1">
                    <a:lumMod val="50000"/>
                    <a:lumOff val="50000"/>
                  </a:schemeClr>
                </a:solidFill>
                <a:cs typeface="Arial"/>
              </a:rPr>
              <a:t>Ripple </a:t>
            </a:r>
            <a:r>
              <a:rPr lang="en-US" sz="2000" spc="-13" dirty="0">
                <a:solidFill>
                  <a:schemeClr val="tx1">
                    <a:lumMod val="50000"/>
                    <a:lumOff val="50000"/>
                  </a:schemeClr>
                </a:solidFill>
                <a:cs typeface="Arial"/>
              </a:rPr>
              <a:t>was </a:t>
            </a:r>
            <a:r>
              <a:rPr lang="en-US" sz="2000" spc="-9" dirty="0">
                <a:solidFill>
                  <a:schemeClr val="tx1">
                    <a:lumMod val="50000"/>
                    <a:lumOff val="50000"/>
                  </a:schemeClr>
                </a:solidFill>
                <a:cs typeface="Arial"/>
              </a:rPr>
              <a:t>distributed </a:t>
            </a:r>
            <a:r>
              <a:rPr lang="en-US" sz="2000" spc="-13" dirty="0">
                <a:solidFill>
                  <a:schemeClr val="tx1">
                    <a:lumMod val="50000"/>
                    <a:lumOff val="50000"/>
                  </a:schemeClr>
                </a:solidFill>
                <a:cs typeface="Arial"/>
              </a:rPr>
              <a:t>upon </a:t>
            </a:r>
            <a:r>
              <a:rPr lang="en-US" sz="2000" spc="-9" dirty="0">
                <a:solidFill>
                  <a:schemeClr val="tx1">
                    <a:lumMod val="50000"/>
                    <a:lumOff val="50000"/>
                  </a:schemeClr>
                </a:solidFill>
                <a:cs typeface="Arial"/>
              </a:rPr>
              <a:t>its </a:t>
            </a:r>
            <a:r>
              <a:rPr lang="en-US" sz="2000" spc="-4" dirty="0">
                <a:solidFill>
                  <a:schemeClr val="tx1">
                    <a:lumMod val="50000"/>
                    <a:lumOff val="50000"/>
                  </a:schemeClr>
                </a:solidFill>
                <a:cs typeface="Arial"/>
              </a:rPr>
              <a:t>creation. No </a:t>
            </a:r>
            <a:r>
              <a:rPr lang="en-US" sz="2000" spc="-9" dirty="0">
                <a:solidFill>
                  <a:schemeClr val="tx1">
                    <a:lumMod val="50000"/>
                    <a:lumOff val="50000"/>
                  </a:schemeClr>
                </a:solidFill>
                <a:cs typeface="Arial"/>
              </a:rPr>
              <a:t>additional </a:t>
            </a:r>
            <a:r>
              <a:rPr lang="en-US" sz="2000" dirty="0">
                <a:solidFill>
                  <a:schemeClr val="tx1">
                    <a:lumMod val="50000"/>
                    <a:lumOff val="50000"/>
                  </a:schemeClr>
                </a:solidFill>
                <a:cs typeface="Arial"/>
              </a:rPr>
              <a:t>Ripple </a:t>
            </a:r>
            <a:r>
              <a:rPr lang="en-US" sz="2000" spc="-9" dirty="0">
                <a:solidFill>
                  <a:schemeClr val="tx1">
                    <a:lumMod val="50000"/>
                    <a:lumOff val="50000"/>
                  </a:schemeClr>
                </a:solidFill>
                <a:cs typeface="Arial"/>
              </a:rPr>
              <a:t>will </a:t>
            </a:r>
            <a:r>
              <a:rPr lang="en-US" sz="2000" spc="-13" dirty="0">
                <a:solidFill>
                  <a:schemeClr val="tx1">
                    <a:lumMod val="50000"/>
                    <a:lumOff val="50000"/>
                  </a:schemeClr>
                </a:solidFill>
                <a:cs typeface="Arial"/>
              </a:rPr>
              <a:t>be </a:t>
            </a:r>
            <a:r>
              <a:rPr lang="en-US" sz="2000" spc="-4" dirty="0">
                <a:solidFill>
                  <a:schemeClr val="tx1">
                    <a:lumMod val="50000"/>
                    <a:lumOff val="50000"/>
                  </a:schemeClr>
                </a:solidFill>
                <a:cs typeface="Arial"/>
              </a:rPr>
              <a:t>created or  </a:t>
            </a:r>
            <a:r>
              <a:rPr lang="en-US" sz="2000" dirty="0">
                <a:solidFill>
                  <a:schemeClr val="tx1">
                    <a:lumMod val="50000"/>
                    <a:lumOff val="50000"/>
                  </a:schemeClr>
                </a:solidFill>
                <a:cs typeface="Arial"/>
              </a:rPr>
              <a:t>mined.</a:t>
            </a:r>
          </a:p>
          <a:p>
            <a:pPr marL="324411" marR="6349" indent="-312866">
              <a:lnSpc>
                <a:spcPct val="100000"/>
              </a:lnSpc>
              <a:spcBef>
                <a:spcPts val="600"/>
              </a:spcBef>
              <a:spcAft>
                <a:spcPts val="1200"/>
              </a:spcAft>
              <a:buFont typeface="MS UI Gothic"/>
              <a:buChar char="❖"/>
              <a:tabLst>
                <a:tab pos="324411" algn="l"/>
                <a:tab pos="324988" algn="l"/>
              </a:tabLst>
            </a:pPr>
            <a:r>
              <a:rPr lang="en-US" sz="2000" dirty="0">
                <a:solidFill>
                  <a:schemeClr val="tx1">
                    <a:lumMod val="50000"/>
                    <a:lumOff val="50000"/>
                  </a:schemeClr>
                </a:solidFill>
                <a:cs typeface="Arial"/>
              </a:rPr>
              <a:t>Note: </a:t>
            </a:r>
            <a:r>
              <a:rPr lang="en-US" sz="2000" spc="-9" dirty="0">
                <a:solidFill>
                  <a:schemeClr val="tx1">
                    <a:lumMod val="50000"/>
                    <a:lumOff val="50000"/>
                  </a:schemeClr>
                </a:solidFill>
                <a:cs typeface="Arial"/>
              </a:rPr>
              <a:t>The cloned </a:t>
            </a:r>
            <a:r>
              <a:rPr lang="en-US" sz="2000" spc="-4" dirty="0">
                <a:solidFill>
                  <a:schemeClr val="tx1">
                    <a:lumMod val="50000"/>
                    <a:lumOff val="50000"/>
                  </a:schemeClr>
                </a:solidFill>
                <a:cs typeface="Arial"/>
              </a:rPr>
              <a:t>coins born </a:t>
            </a:r>
            <a:r>
              <a:rPr lang="en-US" sz="2000" spc="-13" dirty="0">
                <a:solidFill>
                  <a:schemeClr val="tx1">
                    <a:lumMod val="50000"/>
                    <a:lumOff val="50000"/>
                  </a:schemeClr>
                </a:solidFill>
                <a:cs typeface="Arial"/>
              </a:rPr>
              <a:t>in </a:t>
            </a:r>
            <a:r>
              <a:rPr lang="en-US" sz="2000" spc="-4" dirty="0">
                <a:solidFill>
                  <a:schemeClr val="tx1">
                    <a:lumMod val="50000"/>
                    <a:lumOff val="50000"/>
                  </a:schemeClr>
                </a:solidFill>
                <a:cs typeface="Arial"/>
              </a:rPr>
              <a:t>a </a:t>
            </a:r>
            <a:r>
              <a:rPr lang="en-US" sz="2000" spc="-9" dirty="0">
                <a:solidFill>
                  <a:schemeClr val="tx1">
                    <a:lumMod val="50000"/>
                    <a:lumOff val="50000"/>
                  </a:schemeClr>
                </a:solidFill>
                <a:cs typeface="Arial"/>
              </a:rPr>
              <a:t>fork </a:t>
            </a:r>
            <a:r>
              <a:rPr lang="en-US" sz="2000" spc="-4" dirty="0">
                <a:solidFill>
                  <a:schemeClr val="tx1">
                    <a:lumMod val="50000"/>
                    <a:lumOff val="50000"/>
                  </a:schemeClr>
                </a:solidFill>
                <a:cs typeface="Arial"/>
              </a:rPr>
              <a:t>in a </a:t>
            </a:r>
            <a:r>
              <a:rPr lang="en-US" sz="2000" spc="-13" dirty="0">
                <a:solidFill>
                  <a:schemeClr val="tx1">
                    <a:lumMod val="50000"/>
                    <a:lumOff val="50000"/>
                  </a:schemeClr>
                </a:solidFill>
                <a:cs typeface="Arial"/>
              </a:rPr>
              <a:t>way </a:t>
            </a:r>
            <a:r>
              <a:rPr lang="en-US" sz="2000" spc="-4" dirty="0">
                <a:solidFill>
                  <a:schemeClr val="tx1">
                    <a:lumMod val="50000"/>
                    <a:lumOff val="50000"/>
                  </a:schemeClr>
                </a:solidFill>
                <a:cs typeface="Arial"/>
              </a:rPr>
              <a:t>create competing supply (bitcoin </a:t>
            </a:r>
            <a:r>
              <a:rPr lang="en-US" sz="2000" spc="-9" dirty="0">
                <a:solidFill>
                  <a:schemeClr val="tx1">
                    <a:lumMod val="50000"/>
                    <a:lumOff val="50000"/>
                  </a:schemeClr>
                </a:solidFill>
                <a:cs typeface="Arial"/>
              </a:rPr>
              <a:t>cash  </a:t>
            </a:r>
            <a:r>
              <a:rPr lang="en-US" sz="2000" spc="-4" dirty="0">
                <a:solidFill>
                  <a:schemeClr val="tx1">
                    <a:lumMod val="50000"/>
                    <a:lumOff val="50000"/>
                  </a:schemeClr>
                </a:solidFill>
                <a:cs typeface="Arial"/>
              </a:rPr>
              <a:t>as an</a:t>
            </a:r>
            <a:r>
              <a:rPr lang="en-US" sz="2000" spc="-23" dirty="0">
                <a:solidFill>
                  <a:schemeClr val="tx1">
                    <a:lumMod val="50000"/>
                    <a:lumOff val="50000"/>
                  </a:schemeClr>
                </a:solidFill>
                <a:cs typeface="Arial"/>
              </a:rPr>
              <a:t> </a:t>
            </a:r>
            <a:r>
              <a:rPr lang="en-US" sz="2000" spc="-4" dirty="0">
                <a:solidFill>
                  <a:schemeClr val="tx1">
                    <a:lumMod val="50000"/>
                    <a:lumOff val="50000"/>
                  </a:schemeClr>
                </a:solidFill>
                <a:cs typeface="Arial"/>
              </a:rPr>
              <a:t>example)</a:t>
            </a:r>
            <a:endParaRPr lang="en-US" sz="2000" dirty="0">
              <a:solidFill>
                <a:schemeClr val="tx1">
                  <a:lumMod val="50000"/>
                  <a:lumOff val="50000"/>
                </a:schemeClr>
              </a:solidFill>
              <a:cs typeface="Arial"/>
            </a:endParaRPr>
          </a:p>
        </p:txBody>
      </p:sp>
      <p:sp>
        <p:nvSpPr>
          <p:cNvPr id="11" name="Slide Number Placeholder 4">
            <a:extLst>
              <a:ext uri="{FF2B5EF4-FFF2-40B4-BE49-F238E27FC236}">
                <a16:creationId xmlns:a16="http://schemas.microsoft.com/office/drawing/2014/main" id="{D5D33B87-922B-174B-A83D-F776A16C7946}"/>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0</a:t>
            </a:fld>
            <a:endParaRPr lang="uk-UA" dirty="0"/>
          </a:p>
        </p:txBody>
      </p:sp>
    </p:spTree>
    <p:extLst>
      <p:ext uri="{BB962C8B-B14F-4D97-AF65-F5344CB8AC3E}">
        <p14:creationId xmlns:p14="http://schemas.microsoft.com/office/powerpoint/2010/main" val="1718940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a:t>Blockchain Use Cas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8566954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Title 6"/>
          <p:cNvSpPr>
            <a:spLocks noGrp="1"/>
          </p:cNvSpPr>
          <p:nvPr>
            <p:ph type="title"/>
          </p:nvPr>
        </p:nvSpPr>
        <p:spPr>
          <a:xfrm>
            <a:off x="320302" y="123130"/>
            <a:ext cx="10698430" cy="935772"/>
          </a:xfrm>
        </p:spPr>
        <p:txBody>
          <a:bodyPr>
            <a:normAutofit/>
          </a:bodyPr>
          <a:lstStyle/>
          <a:p>
            <a:pPr algn="l"/>
            <a:r>
              <a:rPr lang="en-US" sz="2800" b="1" dirty="0">
                <a:solidFill>
                  <a:srgbClr val="0070C0"/>
                </a:solidFill>
                <a:latin typeface="Arial" panose="020B0604020202020204" pitchFamily="34" charset="0"/>
                <a:ea typeface="Lubalin Demi for IBM" charset="0"/>
                <a:cs typeface="Arial" panose="020B0604020202020204" pitchFamily="34" charset="0"/>
              </a:rPr>
              <a:t>Blockchain Use Cases Across the Mining Value Chain </a:t>
            </a:r>
          </a:p>
        </p:txBody>
      </p:sp>
      <p:pic>
        <p:nvPicPr>
          <p:cNvPr id="7" name="Picture 16" descr="5300_IBMpos_black_PPT_bkg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80703" y="90237"/>
            <a:ext cx="714375" cy="31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Pentagon 2">
            <a:extLst>
              <a:ext uri="{FF2B5EF4-FFF2-40B4-BE49-F238E27FC236}">
                <a16:creationId xmlns:a16="http://schemas.microsoft.com/office/drawing/2014/main" id="{56ED6E30-C9BF-4AB5-93C3-2B7A6C44CA7F}"/>
              </a:ext>
            </a:extLst>
          </p:cNvPr>
          <p:cNvSpPr/>
          <p:nvPr/>
        </p:nvSpPr>
        <p:spPr>
          <a:xfrm>
            <a:off x="409884" y="1111194"/>
            <a:ext cx="2267106" cy="735081"/>
          </a:xfrm>
          <a:prstGeom prst="homePlate">
            <a:avLst/>
          </a:prstGeom>
          <a:solidFill>
            <a:schemeClr val="accent4">
              <a:lumMod val="60000"/>
              <a:lumOff val="40000"/>
            </a:schemeClr>
          </a:solidFill>
          <a:ln>
            <a:solidFill>
              <a:schemeClr val="bg1">
                <a:lumMod val="9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IBM Plex Sans" panose="020B0503050000000000"/>
              </a:rPr>
              <a:t>Exploration &amp; Extraction</a:t>
            </a:r>
          </a:p>
        </p:txBody>
      </p:sp>
      <p:sp>
        <p:nvSpPr>
          <p:cNvPr id="68" name="Rectangle 67">
            <a:extLst>
              <a:ext uri="{FF2B5EF4-FFF2-40B4-BE49-F238E27FC236}">
                <a16:creationId xmlns:a16="http://schemas.microsoft.com/office/drawing/2014/main" id="{67E66C77-3131-4E76-BA9C-A9BCEF3B41CB}"/>
              </a:ext>
            </a:extLst>
          </p:cNvPr>
          <p:cNvSpPr/>
          <p:nvPr/>
        </p:nvSpPr>
        <p:spPr>
          <a:xfrm>
            <a:off x="393613" y="2724127"/>
            <a:ext cx="1955411" cy="92200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Reduce Capital spend on major projects by better visibility of spend</a:t>
            </a:r>
          </a:p>
        </p:txBody>
      </p:sp>
      <p:sp>
        <p:nvSpPr>
          <p:cNvPr id="69" name="Rectangle 68">
            <a:extLst>
              <a:ext uri="{FF2B5EF4-FFF2-40B4-BE49-F238E27FC236}">
                <a16:creationId xmlns:a16="http://schemas.microsoft.com/office/drawing/2014/main" id="{3EFE5DF4-6A32-44C4-8850-6CC026DFCBBF}"/>
              </a:ext>
            </a:extLst>
          </p:cNvPr>
          <p:cNvSpPr/>
          <p:nvPr/>
        </p:nvSpPr>
        <p:spPr>
          <a:xfrm>
            <a:off x="325482" y="3221858"/>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70" name="Chevron 43">
            <a:extLst>
              <a:ext uri="{FF2B5EF4-FFF2-40B4-BE49-F238E27FC236}">
                <a16:creationId xmlns:a16="http://schemas.microsoft.com/office/drawing/2014/main" id="{5D5BDB51-2D3E-4160-9C8D-C211849F166C}"/>
              </a:ext>
            </a:extLst>
          </p:cNvPr>
          <p:cNvSpPr/>
          <p:nvPr/>
        </p:nvSpPr>
        <p:spPr>
          <a:xfrm>
            <a:off x="2531901" y="1111194"/>
            <a:ext cx="2283378" cy="735081"/>
          </a:xfrm>
          <a:prstGeom prst="chevron">
            <a:avLst/>
          </a:prstGeom>
          <a:solidFill>
            <a:schemeClr val="accent4">
              <a:lumMod val="60000"/>
              <a:lumOff val="40000"/>
            </a:schemeClr>
          </a:solidFill>
          <a:ln>
            <a:solidFill>
              <a:schemeClr val="bg1">
                <a:lumMod val="9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IBM Plex Sans" panose="020B0503050000000000"/>
              </a:rPr>
              <a:t>Compliance &amp; Regulations</a:t>
            </a:r>
          </a:p>
        </p:txBody>
      </p:sp>
      <p:sp>
        <p:nvSpPr>
          <p:cNvPr id="71" name="Rectangle 70">
            <a:extLst>
              <a:ext uri="{FF2B5EF4-FFF2-40B4-BE49-F238E27FC236}">
                <a16:creationId xmlns:a16="http://schemas.microsoft.com/office/drawing/2014/main" id="{68891636-BB54-4C19-8BF3-CC7657E9A615}"/>
              </a:ext>
            </a:extLst>
          </p:cNvPr>
          <p:cNvSpPr/>
          <p:nvPr/>
        </p:nvSpPr>
        <p:spPr>
          <a:xfrm>
            <a:off x="2517696" y="3733428"/>
            <a:ext cx="1955411" cy="98194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1">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Green House Gas (GHG)  emissions tracking and reporting</a:t>
            </a:r>
          </a:p>
        </p:txBody>
      </p:sp>
      <p:sp>
        <p:nvSpPr>
          <p:cNvPr id="72" name="Rectangle 71">
            <a:extLst>
              <a:ext uri="{FF2B5EF4-FFF2-40B4-BE49-F238E27FC236}">
                <a16:creationId xmlns:a16="http://schemas.microsoft.com/office/drawing/2014/main" id="{6BAC9C20-2473-4036-B878-F6E908F7708D}"/>
              </a:ext>
            </a:extLst>
          </p:cNvPr>
          <p:cNvSpPr/>
          <p:nvPr/>
        </p:nvSpPr>
        <p:spPr>
          <a:xfrm>
            <a:off x="2448922" y="4419910"/>
            <a:ext cx="407963" cy="2549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73" name="Chevron 48">
            <a:extLst>
              <a:ext uri="{FF2B5EF4-FFF2-40B4-BE49-F238E27FC236}">
                <a16:creationId xmlns:a16="http://schemas.microsoft.com/office/drawing/2014/main" id="{37D45DFB-38C8-4DBB-9AA8-04311A856731}"/>
              </a:ext>
            </a:extLst>
          </p:cNvPr>
          <p:cNvSpPr/>
          <p:nvPr/>
        </p:nvSpPr>
        <p:spPr>
          <a:xfrm>
            <a:off x="4658050" y="1111194"/>
            <a:ext cx="2283378" cy="735081"/>
          </a:xfrm>
          <a:prstGeom prst="chevron">
            <a:avLst/>
          </a:prstGeom>
          <a:solidFill>
            <a:schemeClr val="accent4">
              <a:lumMod val="60000"/>
              <a:lumOff val="40000"/>
            </a:schemeClr>
          </a:solidFill>
          <a:ln>
            <a:solidFill>
              <a:schemeClr val="bg1">
                <a:lumMod val="9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IBM Plex Sans" panose="020B0503050000000000"/>
              </a:rPr>
              <a:t>Mining &amp; Processing</a:t>
            </a:r>
          </a:p>
        </p:txBody>
      </p:sp>
      <p:sp>
        <p:nvSpPr>
          <p:cNvPr id="74" name="Rectangle 73">
            <a:extLst>
              <a:ext uri="{FF2B5EF4-FFF2-40B4-BE49-F238E27FC236}">
                <a16:creationId xmlns:a16="http://schemas.microsoft.com/office/drawing/2014/main" id="{ACD1A14C-428B-4186-AEAF-0EBEB96F5A55}"/>
              </a:ext>
            </a:extLst>
          </p:cNvPr>
          <p:cNvSpPr/>
          <p:nvPr/>
        </p:nvSpPr>
        <p:spPr>
          <a:xfrm>
            <a:off x="4643845" y="2712514"/>
            <a:ext cx="1955411" cy="9706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Reduce supply chain costs by automation and transparency</a:t>
            </a:r>
          </a:p>
        </p:txBody>
      </p:sp>
      <p:sp>
        <p:nvSpPr>
          <p:cNvPr id="75" name="Rectangle 74">
            <a:extLst>
              <a:ext uri="{FF2B5EF4-FFF2-40B4-BE49-F238E27FC236}">
                <a16:creationId xmlns:a16="http://schemas.microsoft.com/office/drawing/2014/main" id="{FD72B6A6-1609-4752-82EE-FE90A0D03605}"/>
              </a:ext>
            </a:extLst>
          </p:cNvPr>
          <p:cNvSpPr/>
          <p:nvPr/>
        </p:nvSpPr>
        <p:spPr>
          <a:xfrm>
            <a:off x="4541238" y="3216484"/>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76" name="Chevron 53">
            <a:extLst>
              <a:ext uri="{FF2B5EF4-FFF2-40B4-BE49-F238E27FC236}">
                <a16:creationId xmlns:a16="http://schemas.microsoft.com/office/drawing/2014/main" id="{6647BE14-92D3-49C9-83B3-E6ABF675A5FD}"/>
              </a:ext>
            </a:extLst>
          </p:cNvPr>
          <p:cNvSpPr/>
          <p:nvPr/>
        </p:nvSpPr>
        <p:spPr>
          <a:xfrm>
            <a:off x="6796339" y="1111194"/>
            <a:ext cx="2283378" cy="735081"/>
          </a:xfrm>
          <a:prstGeom prst="chevron">
            <a:avLst/>
          </a:prstGeom>
          <a:solidFill>
            <a:schemeClr val="accent4">
              <a:lumMod val="60000"/>
              <a:lumOff val="40000"/>
            </a:schemeClr>
          </a:solidFill>
          <a:ln>
            <a:solidFill>
              <a:schemeClr val="bg1">
                <a:lumMod val="9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IBM Plex Sans" panose="020B0503050000000000"/>
              </a:rPr>
              <a:t>Trading &amp; Commercial</a:t>
            </a:r>
          </a:p>
        </p:txBody>
      </p:sp>
      <p:sp>
        <p:nvSpPr>
          <p:cNvPr id="77" name="Rectangle 76">
            <a:extLst>
              <a:ext uri="{FF2B5EF4-FFF2-40B4-BE49-F238E27FC236}">
                <a16:creationId xmlns:a16="http://schemas.microsoft.com/office/drawing/2014/main" id="{B2860E04-480B-4AD7-8E8C-0D9F92229D83}"/>
              </a:ext>
            </a:extLst>
          </p:cNvPr>
          <p:cNvSpPr/>
          <p:nvPr/>
        </p:nvSpPr>
        <p:spPr>
          <a:xfrm>
            <a:off x="6782134" y="2724126"/>
            <a:ext cx="1955411" cy="9379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Trading of unmined assets and create new revenue</a:t>
            </a:r>
          </a:p>
        </p:txBody>
      </p:sp>
      <p:sp>
        <p:nvSpPr>
          <p:cNvPr id="78" name="Rectangle 77">
            <a:extLst>
              <a:ext uri="{FF2B5EF4-FFF2-40B4-BE49-F238E27FC236}">
                <a16:creationId xmlns:a16="http://schemas.microsoft.com/office/drawing/2014/main" id="{27FB57A2-361D-4289-9454-E062918B7FC3}"/>
              </a:ext>
            </a:extLst>
          </p:cNvPr>
          <p:cNvSpPr/>
          <p:nvPr/>
        </p:nvSpPr>
        <p:spPr>
          <a:xfrm>
            <a:off x="6715788" y="3121816"/>
            <a:ext cx="407963" cy="2549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a:solidFill>
                <a:schemeClr val="tx1"/>
              </a:solidFill>
              <a:latin typeface="IBM Plex Sans" panose="020B0503050000000000"/>
            </a:endParaRPr>
          </a:p>
        </p:txBody>
      </p:sp>
      <p:sp>
        <p:nvSpPr>
          <p:cNvPr id="79" name="Chevron 58">
            <a:extLst>
              <a:ext uri="{FF2B5EF4-FFF2-40B4-BE49-F238E27FC236}">
                <a16:creationId xmlns:a16="http://schemas.microsoft.com/office/drawing/2014/main" id="{FFE224FC-4F0C-4685-9136-840A48F87D6D}"/>
              </a:ext>
            </a:extLst>
          </p:cNvPr>
          <p:cNvSpPr/>
          <p:nvPr/>
        </p:nvSpPr>
        <p:spPr>
          <a:xfrm>
            <a:off x="8936694" y="1111194"/>
            <a:ext cx="2283378" cy="735081"/>
          </a:xfrm>
          <a:prstGeom prst="chevron">
            <a:avLst/>
          </a:prstGeom>
          <a:solidFill>
            <a:schemeClr val="accent4">
              <a:lumMod val="60000"/>
              <a:lumOff val="40000"/>
            </a:schemeClr>
          </a:solidFill>
          <a:ln>
            <a:solidFill>
              <a:schemeClr val="bg1">
                <a:lumMod val="9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IBM Plex Sans" panose="020B0503050000000000"/>
              </a:rPr>
              <a:t>Marketing &amp; Supply Chain</a:t>
            </a:r>
          </a:p>
        </p:txBody>
      </p:sp>
      <p:sp>
        <p:nvSpPr>
          <p:cNvPr id="80" name="Rectangle 79">
            <a:extLst>
              <a:ext uri="{FF2B5EF4-FFF2-40B4-BE49-F238E27FC236}">
                <a16:creationId xmlns:a16="http://schemas.microsoft.com/office/drawing/2014/main" id="{39A7EFF7-40B4-4821-896D-2AF5A05671FB}"/>
              </a:ext>
            </a:extLst>
          </p:cNvPr>
          <p:cNvSpPr/>
          <p:nvPr/>
        </p:nvSpPr>
        <p:spPr>
          <a:xfrm>
            <a:off x="8922489" y="2715959"/>
            <a:ext cx="1955411" cy="9444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Digitalisation of supply chain to reduce costs and improve efficiencies</a:t>
            </a:r>
          </a:p>
        </p:txBody>
      </p:sp>
      <p:sp>
        <p:nvSpPr>
          <p:cNvPr id="81" name="Rectangle 80">
            <a:extLst>
              <a:ext uri="{FF2B5EF4-FFF2-40B4-BE49-F238E27FC236}">
                <a16:creationId xmlns:a16="http://schemas.microsoft.com/office/drawing/2014/main" id="{97A63F84-3BC5-469A-B51A-2F2705ED09B8}"/>
              </a:ext>
            </a:extLst>
          </p:cNvPr>
          <p:cNvSpPr/>
          <p:nvPr/>
        </p:nvSpPr>
        <p:spPr>
          <a:xfrm>
            <a:off x="8839738" y="3225877"/>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82" name="Rectangle 81">
            <a:extLst>
              <a:ext uri="{FF2B5EF4-FFF2-40B4-BE49-F238E27FC236}">
                <a16:creationId xmlns:a16="http://schemas.microsoft.com/office/drawing/2014/main" id="{8DDE34A4-F4C0-4D69-947E-E3B1A4EF0BAB}"/>
              </a:ext>
            </a:extLst>
          </p:cNvPr>
          <p:cNvSpPr/>
          <p:nvPr/>
        </p:nvSpPr>
        <p:spPr>
          <a:xfrm>
            <a:off x="405759" y="3733428"/>
            <a:ext cx="1955411" cy="9899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Improve visibility of unmined assets and capitalise this on blockchain</a:t>
            </a:r>
          </a:p>
        </p:txBody>
      </p:sp>
      <p:sp>
        <p:nvSpPr>
          <p:cNvPr id="83" name="Rectangle 82">
            <a:extLst>
              <a:ext uri="{FF2B5EF4-FFF2-40B4-BE49-F238E27FC236}">
                <a16:creationId xmlns:a16="http://schemas.microsoft.com/office/drawing/2014/main" id="{98E297AA-756C-4078-A528-3AD9A7F67D46}"/>
              </a:ext>
            </a:extLst>
          </p:cNvPr>
          <p:cNvSpPr/>
          <p:nvPr/>
        </p:nvSpPr>
        <p:spPr>
          <a:xfrm>
            <a:off x="325482" y="4358059"/>
            <a:ext cx="407963" cy="2549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a:solidFill>
                <a:schemeClr val="tx1"/>
              </a:solidFill>
              <a:latin typeface="IBM Plex Sans" panose="020B0503050000000000"/>
            </a:endParaRPr>
          </a:p>
        </p:txBody>
      </p:sp>
      <p:sp>
        <p:nvSpPr>
          <p:cNvPr id="84" name="Rectangle 83">
            <a:extLst>
              <a:ext uri="{FF2B5EF4-FFF2-40B4-BE49-F238E27FC236}">
                <a16:creationId xmlns:a16="http://schemas.microsoft.com/office/drawing/2014/main" id="{AD264C64-BC41-4436-8B3F-DB8FF53C1C3A}"/>
              </a:ext>
            </a:extLst>
          </p:cNvPr>
          <p:cNvSpPr/>
          <p:nvPr/>
        </p:nvSpPr>
        <p:spPr>
          <a:xfrm>
            <a:off x="2487103" y="4822641"/>
            <a:ext cx="1955411" cy="10566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Track/ trace usage and disposal of  hazardous materials</a:t>
            </a:r>
          </a:p>
        </p:txBody>
      </p:sp>
      <p:sp>
        <p:nvSpPr>
          <p:cNvPr id="85" name="Rectangle 84">
            <a:extLst>
              <a:ext uri="{FF2B5EF4-FFF2-40B4-BE49-F238E27FC236}">
                <a16:creationId xmlns:a16="http://schemas.microsoft.com/office/drawing/2014/main" id="{D2A1E70F-C012-4433-898D-DAFF2EFB6CAD}"/>
              </a:ext>
            </a:extLst>
          </p:cNvPr>
          <p:cNvSpPr/>
          <p:nvPr/>
        </p:nvSpPr>
        <p:spPr>
          <a:xfrm>
            <a:off x="2406827" y="5450224"/>
            <a:ext cx="407963" cy="2549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86" name="Rectangle 85">
            <a:extLst>
              <a:ext uri="{FF2B5EF4-FFF2-40B4-BE49-F238E27FC236}">
                <a16:creationId xmlns:a16="http://schemas.microsoft.com/office/drawing/2014/main" id="{70289021-0B96-46DA-8CEB-0767EA1AC7E7}"/>
              </a:ext>
            </a:extLst>
          </p:cNvPr>
          <p:cNvSpPr/>
          <p:nvPr/>
        </p:nvSpPr>
        <p:spPr>
          <a:xfrm>
            <a:off x="4613920" y="3756215"/>
            <a:ext cx="1955411" cy="97315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bg1"/>
                </a:solidFill>
                <a:latin typeface="IBM Plex Sans" panose="020B0503050000000000"/>
              </a:rPr>
              <a:t>Manage lifecycle of equipment maintenance activities</a:t>
            </a:r>
          </a:p>
        </p:txBody>
      </p:sp>
      <p:sp>
        <p:nvSpPr>
          <p:cNvPr id="87" name="Rectangle 86">
            <a:extLst>
              <a:ext uri="{FF2B5EF4-FFF2-40B4-BE49-F238E27FC236}">
                <a16:creationId xmlns:a16="http://schemas.microsoft.com/office/drawing/2014/main" id="{5F0CE0D2-35CC-44A5-B11B-7A2C294D5943}"/>
              </a:ext>
            </a:extLst>
          </p:cNvPr>
          <p:cNvSpPr/>
          <p:nvPr/>
        </p:nvSpPr>
        <p:spPr>
          <a:xfrm>
            <a:off x="4506654" y="4532501"/>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88" name="Rectangle 87">
            <a:extLst>
              <a:ext uri="{FF2B5EF4-FFF2-40B4-BE49-F238E27FC236}">
                <a16:creationId xmlns:a16="http://schemas.microsoft.com/office/drawing/2014/main" id="{6C4194EE-ABA3-41B5-97AB-672D379D683E}"/>
              </a:ext>
            </a:extLst>
          </p:cNvPr>
          <p:cNvSpPr/>
          <p:nvPr/>
        </p:nvSpPr>
        <p:spPr>
          <a:xfrm>
            <a:off x="6765747" y="3769106"/>
            <a:ext cx="1955411" cy="8248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Over the Counter (OTC*) hub to create new revenue and reduce risk</a:t>
            </a:r>
          </a:p>
        </p:txBody>
      </p:sp>
      <p:sp>
        <p:nvSpPr>
          <p:cNvPr id="89" name="Rectangle 88">
            <a:extLst>
              <a:ext uri="{FF2B5EF4-FFF2-40B4-BE49-F238E27FC236}">
                <a16:creationId xmlns:a16="http://schemas.microsoft.com/office/drawing/2014/main" id="{A70CDF3C-FF6C-4AB1-9CB4-4A3E477DED89}"/>
              </a:ext>
            </a:extLst>
          </p:cNvPr>
          <p:cNvSpPr/>
          <p:nvPr/>
        </p:nvSpPr>
        <p:spPr>
          <a:xfrm>
            <a:off x="6668830" y="4084450"/>
            <a:ext cx="407963" cy="27148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a:solidFill>
                <a:schemeClr val="tx1"/>
              </a:solidFill>
              <a:latin typeface="IBM Plex Sans" panose="020B0503050000000000"/>
            </a:endParaRPr>
          </a:p>
        </p:txBody>
      </p:sp>
      <p:sp>
        <p:nvSpPr>
          <p:cNvPr id="90" name="Rectangle 89">
            <a:extLst>
              <a:ext uri="{FF2B5EF4-FFF2-40B4-BE49-F238E27FC236}">
                <a16:creationId xmlns:a16="http://schemas.microsoft.com/office/drawing/2014/main" id="{E4093375-B524-42AF-A5FC-AE4AFAD2B3DC}"/>
              </a:ext>
            </a:extLst>
          </p:cNvPr>
          <p:cNvSpPr/>
          <p:nvPr/>
        </p:nvSpPr>
        <p:spPr>
          <a:xfrm>
            <a:off x="4497635" y="4191761"/>
            <a:ext cx="407963" cy="2549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91" name="Rectangle 90">
            <a:extLst>
              <a:ext uri="{FF2B5EF4-FFF2-40B4-BE49-F238E27FC236}">
                <a16:creationId xmlns:a16="http://schemas.microsoft.com/office/drawing/2014/main" id="{61457A7E-A602-4587-BA09-0BC6CD2D7064}"/>
              </a:ext>
            </a:extLst>
          </p:cNvPr>
          <p:cNvSpPr/>
          <p:nvPr/>
        </p:nvSpPr>
        <p:spPr>
          <a:xfrm>
            <a:off x="6671313" y="4369235"/>
            <a:ext cx="407963" cy="2714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92" name="Rectangle 91">
            <a:extLst>
              <a:ext uri="{FF2B5EF4-FFF2-40B4-BE49-F238E27FC236}">
                <a16:creationId xmlns:a16="http://schemas.microsoft.com/office/drawing/2014/main" id="{7A62429B-CEB2-444A-90D3-5DE75C55DE73}"/>
              </a:ext>
            </a:extLst>
          </p:cNvPr>
          <p:cNvSpPr/>
          <p:nvPr/>
        </p:nvSpPr>
        <p:spPr>
          <a:xfrm>
            <a:off x="6713583" y="3405504"/>
            <a:ext cx="407963" cy="2549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93" name="Oval 92">
            <a:extLst>
              <a:ext uri="{FF2B5EF4-FFF2-40B4-BE49-F238E27FC236}">
                <a16:creationId xmlns:a16="http://schemas.microsoft.com/office/drawing/2014/main" id="{9CF1F661-2B35-4BEA-80CB-599114B0BCE1}"/>
              </a:ext>
            </a:extLst>
          </p:cNvPr>
          <p:cNvSpPr/>
          <p:nvPr/>
        </p:nvSpPr>
        <p:spPr>
          <a:xfrm>
            <a:off x="353612" y="2768443"/>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1</a:t>
            </a:r>
          </a:p>
        </p:txBody>
      </p:sp>
      <p:sp>
        <p:nvSpPr>
          <p:cNvPr id="94" name="Oval 93">
            <a:extLst>
              <a:ext uri="{FF2B5EF4-FFF2-40B4-BE49-F238E27FC236}">
                <a16:creationId xmlns:a16="http://schemas.microsoft.com/office/drawing/2014/main" id="{FE79A40E-8EDC-4A97-A6D7-A6CB2DF40B97}"/>
              </a:ext>
            </a:extLst>
          </p:cNvPr>
          <p:cNvSpPr/>
          <p:nvPr/>
        </p:nvSpPr>
        <p:spPr>
          <a:xfrm>
            <a:off x="2460760" y="3745206"/>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4</a:t>
            </a:r>
          </a:p>
        </p:txBody>
      </p:sp>
      <p:sp>
        <p:nvSpPr>
          <p:cNvPr id="95" name="Oval 94">
            <a:extLst>
              <a:ext uri="{FF2B5EF4-FFF2-40B4-BE49-F238E27FC236}">
                <a16:creationId xmlns:a16="http://schemas.microsoft.com/office/drawing/2014/main" id="{B788BBEE-B601-40F4-927D-A63322A67C90}"/>
              </a:ext>
            </a:extLst>
          </p:cNvPr>
          <p:cNvSpPr/>
          <p:nvPr/>
        </p:nvSpPr>
        <p:spPr>
          <a:xfrm>
            <a:off x="4587574" y="2712448"/>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6</a:t>
            </a:r>
          </a:p>
        </p:txBody>
      </p:sp>
      <p:sp>
        <p:nvSpPr>
          <p:cNvPr id="96" name="Oval 95">
            <a:extLst>
              <a:ext uri="{FF2B5EF4-FFF2-40B4-BE49-F238E27FC236}">
                <a16:creationId xmlns:a16="http://schemas.microsoft.com/office/drawing/2014/main" id="{3C7BD249-3F14-4536-A10B-37EDC81DB713}"/>
              </a:ext>
            </a:extLst>
          </p:cNvPr>
          <p:cNvSpPr/>
          <p:nvPr/>
        </p:nvSpPr>
        <p:spPr>
          <a:xfrm>
            <a:off x="6733998" y="2714258"/>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8</a:t>
            </a:r>
          </a:p>
        </p:txBody>
      </p:sp>
      <p:sp>
        <p:nvSpPr>
          <p:cNvPr id="97" name="Oval 96">
            <a:extLst>
              <a:ext uri="{FF2B5EF4-FFF2-40B4-BE49-F238E27FC236}">
                <a16:creationId xmlns:a16="http://schemas.microsoft.com/office/drawing/2014/main" id="{F4802096-3F84-4F70-8A26-03E831448883}"/>
              </a:ext>
            </a:extLst>
          </p:cNvPr>
          <p:cNvSpPr/>
          <p:nvPr/>
        </p:nvSpPr>
        <p:spPr>
          <a:xfrm>
            <a:off x="8880289" y="2714333"/>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10</a:t>
            </a:r>
          </a:p>
        </p:txBody>
      </p:sp>
      <p:sp>
        <p:nvSpPr>
          <p:cNvPr id="98" name="Oval 97">
            <a:extLst>
              <a:ext uri="{FF2B5EF4-FFF2-40B4-BE49-F238E27FC236}">
                <a16:creationId xmlns:a16="http://schemas.microsoft.com/office/drawing/2014/main" id="{1FDF81A4-1495-4393-91BC-FC9AA77A6993}"/>
              </a:ext>
            </a:extLst>
          </p:cNvPr>
          <p:cNvSpPr/>
          <p:nvPr/>
        </p:nvSpPr>
        <p:spPr>
          <a:xfrm>
            <a:off x="349488" y="3749107"/>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2</a:t>
            </a:r>
          </a:p>
        </p:txBody>
      </p:sp>
      <p:sp>
        <p:nvSpPr>
          <p:cNvPr id="99" name="Oval 98">
            <a:extLst>
              <a:ext uri="{FF2B5EF4-FFF2-40B4-BE49-F238E27FC236}">
                <a16:creationId xmlns:a16="http://schemas.microsoft.com/office/drawing/2014/main" id="{5EC7B3B2-26F9-4A9B-A2F0-C7D2C1FFC2B2}"/>
              </a:ext>
            </a:extLst>
          </p:cNvPr>
          <p:cNvSpPr/>
          <p:nvPr/>
        </p:nvSpPr>
        <p:spPr>
          <a:xfrm>
            <a:off x="2433038" y="4838560"/>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5</a:t>
            </a:r>
          </a:p>
        </p:txBody>
      </p:sp>
      <p:sp>
        <p:nvSpPr>
          <p:cNvPr id="100" name="Oval 99">
            <a:extLst>
              <a:ext uri="{FF2B5EF4-FFF2-40B4-BE49-F238E27FC236}">
                <a16:creationId xmlns:a16="http://schemas.microsoft.com/office/drawing/2014/main" id="{185423D1-28B1-40AE-88BA-ECA4A5E9F767}"/>
              </a:ext>
            </a:extLst>
          </p:cNvPr>
          <p:cNvSpPr/>
          <p:nvPr/>
        </p:nvSpPr>
        <p:spPr>
          <a:xfrm>
            <a:off x="4571714" y="3776291"/>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7</a:t>
            </a:r>
          </a:p>
        </p:txBody>
      </p:sp>
      <p:sp>
        <p:nvSpPr>
          <p:cNvPr id="101" name="Oval 100">
            <a:extLst>
              <a:ext uri="{FF2B5EF4-FFF2-40B4-BE49-F238E27FC236}">
                <a16:creationId xmlns:a16="http://schemas.microsoft.com/office/drawing/2014/main" id="{0FF7F845-092B-45FF-8789-39668F318318}"/>
              </a:ext>
            </a:extLst>
          </p:cNvPr>
          <p:cNvSpPr/>
          <p:nvPr/>
        </p:nvSpPr>
        <p:spPr>
          <a:xfrm>
            <a:off x="6725742" y="3782482"/>
            <a:ext cx="307288" cy="197813"/>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9</a:t>
            </a:r>
          </a:p>
        </p:txBody>
      </p:sp>
      <p:sp>
        <p:nvSpPr>
          <p:cNvPr id="102" name="Rectangle 101">
            <a:extLst>
              <a:ext uri="{FF2B5EF4-FFF2-40B4-BE49-F238E27FC236}">
                <a16:creationId xmlns:a16="http://schemas.microsoft.com/office/drawing/2014/main" id="{87A4CF73-1FEE-4580-BFE1-540B72C33F9F}"/>
              </a:ext>
            </a:extLst>
          </p:cNvPr>
          <p:cNvSpPr/>
          <p:nvPr/>
        </p:nvSpPr>
        <p:spPr>
          <a:xfrm>
            <a:off x="8882744" y="4787250"/>
            <a:ext cx="1995156" cy="109200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bg1"/>
                </a:solidFill>
                <a:latin typeface="IBM Plex Sans" panose="020B0503050000000000"/>
              </a:rPr>
              <a:t>Provenance, quality and authenticity to customer</a:t>
            </a:r>
          </a:p>
        </p:txBody>
      </p:sp>
      <p:sp>
        <p:nvSpPr>
          <p:cNvPr id="103" name="Rectangle 102">
            <a:extLst>
              <a:ext uri="{FF2B5EF4-FFF2-40B4-BE49-F238E27FC236}">
                <a16:creationId xmlns:a16="http://schemas.microsoft.com/office/drawing/2014/main" id="{932C19D7-8AF4-48EA-B676-F9B177514182}"/>
              </a:ext>
            </a:extLst>
          </p:cNvPr>
          <p:cNvSpPr/>
          <p:nvPr/>
        </p:nvSpPr>
        <p:spPr>
          <a:xfrm>
            <a:off x="8802468" y="5414596"/>
            <a:ext cx="407963" cy="23621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a:solidFill>
                <a:schemeClr val="tx1"/>
              </a:solidFill>
              <a:latin typeface="IBM Plex Sans" panose="020B0503050000000000"/>
            </a:endParaRPr>
          </a:p>
        </p:txBody>
      </p:sp>
      <p:sp>
        <p:nvSpPr>
          <p:cNvPr id="104" name="Oval 103">
            <a:extLst>
              <a:ext uri="{FF2B5EF4-FFF2-40B4-BE49-F238E27FC236}">
                <a16:creationId xmlns:a16="http://schemas.microsoft.com/office/drawing/2014/main" id="{6396351F-FAA1-4BFA-BF6F-3531ED114D6C}"/>
              </a:ext>
            </a:extLst>
          </p:cNvPr>
          <p:cNvSpPr/>
          <p:nvPr/>
        </p:nvSpPr>
        <p:spPr>
          <a:xfrm>
            <a:off x="8828673" y="4883225"/>
            <a:ext cx="307288" cy="29694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12</a:t>
            </a:r>
          </a:p>
        </p:txBody>
      </p:sp>
      <p:pic>
        <p:nvPicPr>
          <p:cNvPr id="105" name="Picture 104">
            <a:extLst>
              <a:ext uri="{FF2B5EF4-FFF2-40B4-BE49-F238E27FC236}">
                <a16:creationId xmlns:a16="http://schemas.microsoft.com/office/drawing/2014/main" id="{A6A8F642-DE59-41A5-A611-DB3FCABBE5EE}"/>
              </a:ext>
            </a:extLst>
          </p:cNvPr>
          <p:cNvPicPr>
            <a:picLocks noChangeAspect="1"/>
          </p:cNvPicPr>
          <p:nvPr/>
        </p:nvPicPr>
        <p:blipFill>
          <a:blip r:embed="rId4"/>
          <a:stretch>
            <a:fillRect/>
          </a:stretch>
        </p:blipFill>
        <p:spPr>
          <a:xfrm>
            <a:off x="668892" y="1974163"/>
            <a:ext cx="1372305" cy="686154"/>
          </a:xfrm>
          <a:prstGeom prst="rect">
            <a:avLst/>
          </a:prstGeom>
        </p:spPr>
      </p:pic>
      <p:pic>
        <p:nvPicPr>
          <p:cNvPr id="106" name="Picture 105">
            <a:extLst>
              <a:ext uri="{FF2B5EF4-FFF2-40B4-BE49-F238E27FC236}">
                <a16:creationId xmlns:a16="http://schemas.microsoft.com/office/drawing/2014/main" id="{5C3733D9-48E4-437F-A313-45ED093ED20A}"/>
              </a:ext>
            </a:extLst>
          </p:cNvPr>
          <p:cNvPicPr>
            <a:picLocks noChangeAspect="1"/>
          </p:cNvPicPr>
          <p:nvPr/>
        </p:nvPicPr>
        <p:blipFill>
          <a:blip r:embed="rId5"/>
          <a:stretch>
            <a:fillRect/>
          </a:stretch>
        </p:blipFill>
        <p:spPr>
          <a:xfrm>
            <a:off x="4939897" y="1904998"/>
            <a:ext cx="1372212" cy="772064"/>
          </a:xfrm>
          <a:prstGeom prst="rect">
            <a:avLst/>
          </a:prstGeom>
        </p:spPr>
      </p:pic>
      <p:pic>
        <p:nvPicPr>
          <p:cNvPr id="107" name="Picture 106">
            <a:extLst>
              <a:ext uri="{FF2B5EF4-FFF2-40B4-BE49-F238E27FC236}">
                <a16:creationId xmlns:a16="http://schemas.microsoft.com/office/drawing/2014/main" id="{1D57C9F0-6694-4F29-A4D6-4D58058570ED}"/>
              </a:ext>
            </a:extLst>
          </p:cNvPr>
          <p:cNvPicPr>
            <a:picLocks noChangeAspect="1"/>
          </p:cNvPicPr>
          <p:nvPr/>
        </p:nvPicPr>
        <p:blipFill>
          <a:blip r:embed="rId6"/>
          <a:stretch>
            <a:fillRect/>
          </a:stretch>
        </p:blipFill>
        <p:spPr>
          <a:xfrm>
            <a:off x="7372397" y="1946631"/>
            <a:ext cx="1131263" cy="659902"/>
          </a:xfrm>
          <a:prstGeom prst="rect">
            <a:avLst/>
          </a:prstGeom>
        </p:spPr>
      </p:pic>
      <p:pic>
        <p:nvPicPr>
          <p:cNvPr id="108" name="Picture 107">
            <a:extLst>
              <a:ext uri="{FF2B5EF4-FFF2-40B4-BE49-F238E27FC236}">
                <a16:creationId xmlns:a16="http://schemas.microsoft.com/office/drawing/2014/main" id="{5FAE0089-4372-4A0D-ADF6-37F40A6913F6}"/>
              </a:ext>
            </a:extLst>
          </p:cNvPr>
          <p:cNvPicPr>
            <a:picLocks noChangeAspect="1"/>
          </p:cNvPicPr>
          <p:nvPr/>
        </p:nvPicPr>
        <p:blipFill>
          <a:blip r:embed="rId7"/>
          <a:stretch>
            <a:fillRect/>
          </a:stretch>
        </p:blipFill>
        <p:spPr>
          <a:xfrm>
            <a:off x="9357166" y="1961287"/>
            <a:ext cx="1086054" cy="599597"/>
          </a:xfrm>
          <a:prstGeom prst="rect">
            <a:avLst/>
          </a:prstGeom>
          <a:ln>
            <a:noFill/>
          </a:ln>
        </p:spPr>
      </p:pic>
      <p:pic>
        <p:nvPicPr>
          <p:cNvPr id="109" name="Graphic 108" descr="Checklist">
            <a:extLst>
              <a:ext uri="{FF2B5EF4-FFF2-40B4-BE49-F238E27FC236}">
                <a16:creationId xmlns:a16="http://schemas.microsoft.com/office/drawing/2014/main" id="{B8AA9A8D-1EC9-442A-80E2-FDB2091C2BD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72857" y="1891585"/>
            <a:ext cx="803395" cy="803395"/>
          </a:xfrm>
          <a:prstGeom prst="rect">
            <a:avLst/>
          </a:prstGeom>
        </p:spPr>
      </p:pic>
      <p:sp>
        <p:nvSpPr>
          <p:cNvPr id="110" name="Rectangle 109">
            <a:extLst>
              <a:ext uri="{FF2B5EF4-FFF2-40B4-BE49-F238E27FC236}">
                <a16:creationId xmlns:a16="http://schemas.microsoft.com/office/drawing/2014/main" id="{D168CDF1-4953-4A0B-831F-D233E9183360}"/>
              </a:ext>
            </a:extLst>
          </p:cNvPr>
          <p:cNvSpPr/>
          <p:nvPr/>
        </p:nvSpPr>
        <p:spPr>
          <a:xfrm>
            <a:off x="8942147" y="3785700"/>
            <a:ext cx="1955411" cy="8358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tx1"/>
                </a:solidFill>
                <a:latin typeface="IBM Plex Sans" panose="020B0503050000000000"/>
              </a:rPr>
              <a:t>Commodity trade finance to reduce costs and improve efficiency</a:t>
            </a:r>
          </a:p>
        </p:txBody>
      </p:sp>
      <p:sp>
        <p:nvSpPr>
          <p:cNvPr id="111" name="Rectangle 110">
            <a:extLst>
              <a:ext uri="{FF2B5EF4-FFF2-40B4-BE49-F238E27FC236}">
                <a16:creationId xmlns:a16="http://schemas.microsoft.com/office/drawing/2014/main" id="{DB27F6C6-E494-4BA1-9623-C84B2F52F291}"/>
              </a:ext>
            </a:extLst>
          </p:cNvPr>
          <p:cNvSpPr/>
          <p:nvPr/>
        </p:nvSpPr>
        <p:spPr>
          <a:xfrm>
            <a:off x="8859397" y="4295617"/>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112" name="Oval 111">
            <a:extLst>
              <a:ext uri="{FF2B5EF4-FFF2-40B4-BE49-F238E27FC236}">
                <a16:creationId xmlns:a16="http://schemas.microsoft.com/office/drawing/2014/main" id="{707B97FA-5D99-4B46-A4AE-BAED10129FFB}"/>
              </a:ext>
            </a:extLst>
          </p:cNvPr>
          <p:cNvSpPr/>
          <p:nvPr/>
        </p:nvSpPr>
        <p:spPr>
          <a:xfrm>
            <a:off x="8899947" y="3784074"/>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11</a:t>
            </a:r>
          </a:p>
        </p:txBody>
      </p:sp>
      <p:sp>
        <p:nvSpPr>
          <p:cNvPr id="113" name="Rectangle 112">
            <a:extLst>
              <a:ext uri="{FF2B5EF4-FFF2-40B4-BE49-F238E27FC236}">
                <a16:creationId xmlns:a16="http://schemas.microsoft.com/office/drawing/2014/main" id="{E274867B-E7C7-4F98-B6B1-D03ED03CF8DE}"/>
              </a:ext>
            </a:extLst>
          </p:cNvPr>
          <p:cNvSpPr/>
          <p:nvPr/>
        </p:nvSpPr>
        <p:spPr>
          <a:xfrm>
            <a:off x="2556857" y="2693609"/>
            <a:ext cx="1955411" cy="95100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39">
              <a:buClr>
                <a:schemeClr val="accent2">
                  <a:lumMod val="20000"/>
                  <a:lumOff val="80000"/>
                </a:schemeClr>
              </a:buClr>
              <a:buFont typeface="Arial" panose="020B0604020202020204" pitchFamily="34" charset="0"/>
              <a:buChar char="•"/>
            </a:pPr>
            <a:r>
              <a:rPr lang="en-GB" sz="1200" b="1" dirty="0">
                <a:solidFill>
                  <a:schemeClr val="bg1"/>
                </a:solidFill>
                <a:latin typeface="IBM Plex Sans" panose="020B0503050000000000"/>
              </a:rPr>
              <a:t>Track/ trace for commodity&amp; parts supply chain</a:t>
            </a:r>
          </a:p>
        </p:txBody>
      </p:sp>
      <p:sp>
        <p:nvSpPr>
          <p:cNvPr id="114" name="Rectangle 113">
            <a:extLst>
              <a:ext uri="{FF2B5EF4-FFF2-40B4-BE49-F238E27FC236}">
                <a16:creationId xmlns:a16="http://schemas.microsoft.com/office/drawing/2014/main" id="{4FC4A90F-9A6E-4FEC-A465-62B785C6775F}"/>
              </a:ext>
            </a:extLst>
          </p:cNvPr>
          <p:cNvSpPr/>
          <p:nvPr/>
        </p:nvSpPr>
        <p:spPr>
          <a:xfrm>
            <a:off x="2476581" y="3320955"/>
            <a:ext cx="407963" cy="2549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115" name="Oval 114">
            <a:extLst>
              <a:ext uri="{FF2B5EF4-FFF2-40B4-BE49-F238E27FC236}">
                <a16:creationId xmlns:a16="http://schemas.microsoft.com/office/drawing/2014/main" id="{DEE47CB7-9626-4C84-98A7-D55ACC7DA6D8}"/>
              </a:ext>
            </a:extLst>
          </p:cNvPr>
          <p:cNvSpPr/>
          <p:nvPr/>
        </p:nvSpPr>
        <p:spPr>
          <a:xfrm>
            <a:off x="2502786" y="2709088"/>
            <a:ext cx="307288" cy="320438"/>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800" b="1" dirty="0">
                <a:solidFill>
                  <a:schemeClr val="tx1"/>
                </a:solidFill>
                <a:latin typeface="IBM Plex Sans" panose="020B0503050000000000"/>
              </a:rPr>
              <a:t>3</a:t>
            </a:r>
          </a:p>
        </p:txBody>
      </p:sp>
      <p:sp>
        <p:nvSpPr>
          <p:cNvPr id="116" name="Rectangle 115">
            <a:extLst>
              <a:ext uri="{FF2B5EF4-FFF2-40B4-BE49-F238E27FC236}">
                <a16:creationId xmlns:a16="http://schemas.microsoft.com/office/drawing/2014/main" id="{977DEFC1-8AD6-4AF6-90B1-2E823B971835}"/>
              </a:ext>
            </a:extLst>
          </p:cNvPr>
          <p:cNvSpPr/>
          <p:nvPr/>
        </p:nvSpPr>
        <p:spPr>
          <a:xfrm>
            <a:off x="2487103" y="3050714"/>
            <a:ext cx="407963" cy="2549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b="1">
              <a:solidFill>
                <a:schemeClr val="tx1"/>
              </a:solidFill>
              <a:latin typeface="IBM Plex Sans" panose="020B0503050000000000"/>
            </a:endParaRPr>
          </a:p>
        </p:txBody>
      </p:sp>
      <p:sp>
        <p:nvSpPr>
          <p:cNvPr id="117" name="Rectangle 116">
            <a:extLst>
              <a:ext uri="{FF2B5EF4-FFF2-40B4-BE49-F238E27FC236}">
                <a16:creationId xmlns:a16="http://schemas.microsoft.com/office/drawing/2014/main" id="{278C0F0F-215D-4B94-A306-4BEE533ABBD8}"/>
              </a:ext>
            </a:extLst>
          </p:cNvPr>
          <p:cNvSpPr/>
          <p:nvPr/>
        </p:nvSpPr>
        <p:spPr>
          <a:xfrm>
            <a:off x="320302" y="6110383"/>
            <a:ext cx="5556738" cy="345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000" dirty="0">
                <a:solidFill>
                  <a:schemeClr val="tx1"/>
                </a:solidFill>
                <a:latin typeface="IBM Plex Sans" panose="020B0503050000000000"/>
              </a:rPr>
              <a:t>*OTC – Over the counter: Bilateral trading of products including Copper, Nickel, Platinum, Gold, Diamond etc. involving a buyer and seller that is not on a regulated exchange </a:t>
            </a:r>
          </a:p>
        </p:txBody>
      </p:sp>
      <p:sp>
        <p:nvSpPr>
          <p:cNvPr id="118" name="Rectangle 117">
            <a:extLst>
              <a:ext uri="{FF2B5EF4-FFF2-40B4-BE49-F238E27FC236}">
                <a16:creationId xmlns:a16="http://schemas.microsoft.com/office/drawing/2014/main" id="{5383991D-21D2-486C-B17E-59F75529E2A6}"/>
              </a:ext>
            </a:extLst>
          </p:cNvPr>
          <p:cNvSpPr/>
          <p:nvPr/>
        </p:nvSpPr>
        <p:spPr>
          <a:xfrm>
            <a:off x="6223000" y="5680297"/>
            <a:ext cx="2434312" cy="1019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latin typeface="IBM Plex Sans" panose="020B0503050000000000"/>
            </a:endParaRPr>
          </a:p>
        </p:txBody>
      </p:sp>
      <p:grpSp>
        <p:nvGrpSpPr>
          <p:cNvPr id="3" name="Group 2">
            <a:extLst>
              <a:ext uri="{FF2B5EF4-FFF2-40B4-BE49-F238E27FC236}">
                <a16:creationId xmlns:a16="http://schemas.microsoft.com/office/drawing/2014/main" id="{E18E4E2B-13BF-6D45-9144-EFF4E502F4BD}"/>
              </a:ext>
            </a:extLst>
          </p:cNvPr>
          <p:cNvGrpSpPr/>
          <p:nvPr/>
        </p:nvGrpSpPr>
        <p:grpSpPr>
          <a:xfrm>
            <a:off x="6183750" y="6142351"/>
            <a:ext cx="4833408" cy="295662"/>
            <a:chOff x="6183750" y="6142351"/>
            <a:chExt cx="4833408" cy="295662"/>
          </a:xfrm>
        </p:grpSpPr>
        <p:sp>
          <p:nvSpPr>
            <p:cNvPr id="119" name="Rectangle 118">
              <a:extLst>
                <a:ext uri="{FF2B5EF4-FFF2-40B4-BE49-F238E27FC236}">
                  <a16:creationId xmlns:a16="http://schemas.microsoft.com/office/drawing/2014/main" id="{ABF6978D-BC63-42BF-8919-EF689962B8EA}"/>
                </a:ext>
              </a:extLst>
            </p:cNvPr>
            <p:cNvSpPr/>
            <p:nvPr/>
          </p:nvSpPr>
          <p:spPr>
            <a:xfrm>
              <a:off x="8963417" y="6156659"/>
              <a:ext cx="407963" cy="28135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latin typeface="IBM Plex Sans" panose="020B0503050000000000"/>
              </a:endParaRPr>
            </a:p>
          </p:txBody>
        </p:sp>
        <p:sp>
          <p:nvSpPr>
            <p:cNvPr id="120" name="Rectangle 119">
              <a:extLst>
                <a:ext uri="{FF2B5EF4-FFF2-40B4-BE49-F238E27FC236}">
                  <a16:creationId xmlns:a16="http://schemas.microsoft.com/office/drawing/2014/main" id="{F418149C-D366-47BE-88B4-10DFFC9F78C6}"/>
                </a:ext>
              </a:extLst>
            </p:cNvPr>
            <p:cNvSpPr/>
            <p:nvPr/>
          </p:nvSpPr>
          <p:spPr>
            <a:xfrm>
              <a:off x="7423459" y="6145818"/>
              <a:ext cx="407963" cy="28135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latin typeface="IBM Plex Sans" panose="020B0503050000000000"/>
              </a:endParaRPr>
            </a:p>
          </p:txBody>
        </p:sp>
        <p:sp>
          <p:nvSpPr>
            <p:cNvPr id="121" name="Rectangle 120">
              <a:extLst>
                <a:ext uri="{FF2B5EF4-FFF2-40B4-BE49-F238E27FC236}">
                  <a16:creationId xmlns:a16="http://schemas.microsoft.com/office/drawing/2014/main" id="{F519EB6F-90B8-44C4-96E4-681D04FDAD30}"/>
                </a:ext>
              </a:extLst>
            </p:cNvPr>
            <p:cNvSpPr/>
            <p:nvPr/>
          </p:nvSpPr>
          <p:spPr>
            <a:xfrm>
              <a:off x="6183750" y="6142351"/>
              <a:ext cx="407963" cy="28135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a:solidFill>
                  <a:schemeClr val="tx1"/>
                </a:solidFill>
                <a:latin typeface="IBM Plex Sans" panose="020B0503050000000000"/>
              </a:endParaRPr>
            </a:p>
          </p:txBody>
        </p:sp>
        <p:sp>
          <p:nvSpPr>
            <p:cNvPr id="122" name="TextBox 121">
              <a:extLst>
                <a:ext uri="{FF2B5EF4-FFF2-40B4-BE49-F238E27FC236}">
                  <a16:creationId xmlns:a16="http://schemas.microsoft.com/office/drawing/2014/main" id="{EF9E4AEE-B662-43E2-B6F3-D90D4862E547}"/>
                </a:ext>
              </a:extLst>
            </p:cNvPr>
            <p:cNvSpPr txBox="1"/>
            <p:nvPr/>
          </p:nvSpPr>
          <p:spPr>
            <a:xfrm>
              <a:off x="6543608" y="6142351"/>
              <a:ext cx="934276" cy="261610"/>
            </a:xfrm>
            <a:prstGeom prst="rect">
              <a:avLst/>
            </a:prstGeom>
            <a:noFill/>
          </p:spPr>
          <p:txBody>
            <a:bodyPr wrap="square" rtlCol="0">
              <a:spAutoFit/>
            </a:bodyPr>
            <a:lstStyle/>
            <a:p>
              <a:r>
                <a:rPr lang="en-GB" sz="1100" b="1" dirty="0">
                  <a:latin typeface="IBM Plex Sans" panose="020B0503050000000000"/>
                </a:rPr>
                <a:t>New value</a:t>
              </a:r>
            </a:p>
          </p:txBody>
        </p:sp>
        <p:sp>
          <p:nvSpPr>
            <p:cNvPr id="123" name="TextBox 122">
              <a:extLst>
                <a:ext uri="{FF2B5EF4-FFF2-40B4-BE49-F238E27FC236}">
                  <a16:creationId xmlns:a16="http://schemas.microsoft.com/office/drawing/2014/main" id="{75BC0400-C06B-44DD-A213-DEE544BBED7A}"/>
                </a:ext>
              </a:extLst>
            </p:cNvPr>
            <p:cNvSpPr txBox="1"/>
            <p:nvPr/>
          </p:nvSpPr>
          <p:spPr>
            <a:xfrm>
              <a:off x="7817383" y="6159663"/>
              <a:ext cx="1214498" cy="264041"/>
            </a:xfrm>
            <a:prstGeom prst="rect">
              <a:avLst/>
            </a:prstGeom>
            <a:noFill/>
          </p:spPr>
          <p:txBody>
            <a:bodyPr wrap="square" rtlCol="0">
              <a:spAutoFit/>
            </a:bodyPr>
            <a:lstStyle/>
            <a:p>
              <a:r>
                <a:rPr lang="en-GB" sz="1100" b="1" dirty="0">
                  <a:latin typeface="IBM Plex Sans" panose="020B0503050000000000"/>
                </a:rPr>
                <a:t>Cost reduction</a:t>
              </a:r>
            </a:p>
          </p:txBody>
        </p:sp>
        <p:sp>
          <p:nvSpPr>
            <p:cNvPr id="124" name="TextBox 123">
              <a:extLst>
                <a:ext uri="{FF2B5EF4-FFF2-40B4-BE49-F238E27FC236}">
                  <a16:creationId xmlns:a16="http://schemas.microsoft.com/office/drawing/2014/main" id="{C5F43CEB-6DD8-48F2-9BB1-92F1AFE2FD26}"/>
                </a:ext>
              </a:extLst>
            </p:cNvPr>
            <p:cNvSpPr txBox="1"/>
            <p:nvPr/>
          </p:nvSpPr>
          <p:spPr>
            <a:xfrm>
              <a:off x="9357166" y="6147121"/>
              <a:ext cx="1659992" cy="261610"/>
            </a:xfrm>
            <a:prstGeom prst="rect">
              <a:avLst/>
            </a:prstGeom>
            <a:noFill/>
          </p:spPr>
          <p:txBody>
            <a:bodyPr wrap="square" rtlCol="0">
              <a:spAutoFit/>
            </a:bodyPr>
            <a:lstStyle/>
            <a:p>
              <a:r>
                <a:rPr lang="en-GB" sz="1100" b="1" dirty="0">
                  <a:latin typeface="IBM Plex Sans" panose="020B0503050000000000"/>
                </a:rPr>
                <a:t>Risk Management</a:t>
              </a:r>
            </a:p>
          </p:txBody>
        </p:sp>
      </p:grpSp>
      <p:sp>
        <p:nvSpPr>
          <p:cNvPr id="65" name="Slide Number Placeholder 4">
            <a:extLst>
              <a:ext uri="{FF2B5EF4-FFF2-40B4-BE49-F238E27FC236}">
                <a16:creationId xmlns:a16="http://schemas.microsoft.com/office/drawing/2014/main" id="{59899E53-1EEA-D249-A7BD-99B15FFEF274}"/>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2</a:t>
            </a:fld>
            <a:endParaRPr lang="uk-UA" dirty="0"/>
          </a:p>
        </p:txBody>
      </p:sp>
    </p:spTree>
    <p:extLst>
      <p:ext uri="{BB962C8B-B14F-4D97-AF65-F5344CB8AC3E}">
        <p14:creationId xmlns:p14="http://schemas.microsoft.com/office/powerpoint/2010/main" val="299085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a:xfrm>
            <a:off x="140968" y="76735"/>
            <a:ext cx="10623548" cy="486241"/>
          </a:xfrm>
        </p:spPr>
        <p:txBody>
          <a:bodyPr/>
          <a:lstStyle/>
          <a:p>
            <a:pPr algn="l"/>
            <a:r>
              <a:rPr lang="en-US" sz="2800" b="1" dirty="0">
                <a:solidFill>
                  <a:srgbClr val="0070C0"/>
                </a:solidFill>
                <a:latin typeface="Arial" panose="020B0604020202020204" pitchFamily="34" charset="0"/>
                <a:cs typeface="Arial" panose="020B0604020202020204" pitchFamily="34" charset="0"/>
              </a:rPr>
              <a:t>IBM &amp; RCS </a:t>
            </a:r>
            <a:r>
              <a:rPr lang="en-US" sz="2800" dirty="0">
                <a:solidFill>
                  <a:srgbClr val="0070C0"/>
                </a:solidFill>
                <a:latin typeface="Arial" panose="020B0604020202020204" pitchFamily="34" charset="0"/>
                <a:cs typeface="Arial" panose="020B0604020202020204" pitchFamily="34" charset="0"/>
              </a:rPr>
              <a:t>Global collaboration for Mining</a:t>
            </a:r>
          </a:p>
        </p:txBody>
      </p:sp>
      <p:pic>
        <p:nvPicPr>
          <p:cNvPr id="2" name="Picture 1">
            <a:extLst>
              <a:ext uri="{FF2B5EF4-FFF2-40B4-BE49-F238E27FC236}">
                <a16:creationId xmlns:a16="http://schemas.microsoft.com/office/drawing/2014/main" id="{96867834-76FF-4268-9463-5D5370D9A456}"/>
              </a:ext>
            </a:extLst>
          </p:cNvPr>
          <p:cNvPicPr>
            <a:picLocks noChangeAspect="1"/>
          </p:cNvPicPr>
          <p:nvPr/>
        </p:nvPicPr>
        <p:blipFill>
          <a:blip r:embed="rId3" cstate="print"/>
          <a:stretch>
            <a:fillRect/>
          </a:stretch>
        </p:blipFill>
        <p:spPr>
          <a:xfrm>
            <a:off x="394968" y="565250"/>
            <a:ext cx="10971532" cy="6165751"/>
          </a:xfrm>
          <a:prstGeom prst="rect">
            <a:avLst/>
          </a:prstGeom>
        </p:spPr>
      </p:pic>
      <p:pic>
        <p:nvPicPr>
          <p:cNvPr id="6" name="Picture 16" descr="5300_IBMpos_black_PPT_bkg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80703" y="90237"/>
            <a:ext cx="714375" cy="31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4">
            <a:extLst>
              <a:ext uri="{FF2B5EF4-FFF2-40B4-BE49-F238E27FC236}">
                <a16:creationId xmlns:a16="http://schemas.microsoft.com/office/drawing/2014/main" id="{7C96BCAA-E96C-A441-8156-2FF3B4956925}"/>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3</a:t>
            </a:fld>
            <a:endParaRPr lang="uk-UA" dirty="0"/>
          </a:p>
        </p:txBody>
      </p:sp>
    </p:spTree>
    <p:extLst>
      <p:ext uri="{BB962C8B-B14F-4D97-AF65-F5344CB8AC3E}">
        <p14:creationId xmlns:p14="http://schemas.microsoft.com/office/powerpoint/2010/main" val="341765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8393468" y="2689287"/>
            <a:ext cx="2577032" cy="1028985"/>
          </a:xfrm>
          <a:prstGeom prst="ellipse">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15" name="TextBox 14"/>
          <p:cNvSpPr txBox="1"/>
          <p:nvPr/>
        </p:nvSpPr>
        <p:spPr>
          <a:xfrm>
            <a:off x="9885248" y="2984276"/>
            <a:ext cx="1007700" cy="461665"/>
          </a:xfrm>
          <a:prstGeom prst="rect">
            <a:avLst/>
          </a:prstGeom>
          <a:noFill/>
        </p:spPr>
        <p:txBody>
          <a:bodyPr wrap="square" rtlCol="0">
            <a:spAutoFit/>
          </a:bodyPr>
          <a:lstStyle/>
          <a:p>
            <a:pPr algn="ctr"/>
            <a:r>
              <a:rPr lang="en-US" sz="800" b="1" dirty="0">
                <a:solidFill>
                  <a:srgbClr val="0070C0"/>
                </a:solidFill>
                <a:latin typeface="Arial" pitchFamily="34" charset="0"/>
                <a:cs typeface="Arial" pitchFamily="34" charset="0"/>
              </a:rPr>
              <a:t>Shared,</a:t>
            </a:r>
          </a:p>
          <a:p>
            <a:pPr algn="ctr"/>
            <a:r>
              <a:rPr lang="en-US" sz="800" b="1" dirty="0">
                <a:solidFill>
                  <a:srgbClr val="0070C0"/>
                </a:solidFill>
                <a:latin typeface="Arial" pitchFamily="34" charset="0"/>
                <a:cs typeface="Arial" pitchFamily="34" charset="0"/>
              </a:rPr>
              <a:t>Permissioned, Replicated</a:t>
            </a:r>
          </a:p>
        </p:txBody>
      </p:sp>
      <p:sp>
        <p:nvSpPr>
          <p:cNvPr id="16" name="TextBox 15"/>
          <p:cNvSpPr txBox="1"/>
          <p:nvPr/>
        </p:nvSpPr>
        <p:spPr>
          <a:xfrm>
            <a:off x="8492330" y="3005833"/>
            <a:ext cx="850899" cy="461665"/>
          </a:xfrm>
          <a:prstGeom prst="rect">
            <a:avLst/>
          </a:prstGeom>
          <a:noFill/>
        </p:spPr>
        <p:txBody>
          <a:bodyPr wrap="square" rtlCol="0">
            <a:spAutoFit/>
          </a:bodyPr>
          <a:lstStyle/>
          <a:p>
            <a:pPr algn="ctr"/>
            <a:r>
              <a:rPr lang="en-US" sz="800" b="1" dirty="0">
                <a:solidFill>
                  <a:srgbClr val="0070C0"/>
                </a:solidFill>
                <a:latin typeface="Arial" pitchFamily="34" charset="0"/>
                <a:cs typeface="Arial" pitchFamily="34" charset="0"/>
              </a:rPr>
              <a:t>Digital</a:t>
            </a:r>
          </a:p>
          <a:p>
            <a:pPr algn="ctr"/>
            <a:r>
              <a:rPr lang="en-US" sz="800" b="1" dirty="0">
                <a:solidFill>
                  <a:srgbClr val="0070C0"/>
                </a:solidFill>
                <a:latin typeface="Arial" pitchFamily="34" charset="0"/>
                <a:cs typeface="Arial" pitchFamily="34" charset="0"/>
              </a:rPr>
              <a:t>Distributed </a:t>
            </a:r>
          </a:p>
          <a:p>
            <a:pPr algn="ctr"/>
            <a:r>
              <a:rPr lang="en-US" sz="800" b="1" dirty="0">
                <a:solidFill>
                  <a:srgbClr val="0070C0"/>
                </a:solidFill>
                <a:latin typeface="Arial" pitchFamily="34" charset="0"/>
                <a:cs typeface="Arial" pitchFamily="34" charset="0"/>
              </a:rPr>
              <a:t>Ledger</a:t>
            </a:r>
          </a:p>
        </p:txBody>
      </p:sp>
      <p:pic>
        <p:nvPicPr>
          <p:cNvPr id="17" name="Picture 16" descr="0 - Book.png"/>
          <p:cNvPicPr>
            <a:picLocks noChangeAspect="1"/>
          </p:cNvPicPr>
          <p:nvPr/>
        </p:nvPicPr>
        <p:blipFill>
          <a:blip r:embed="rId3" cstate="print"/>
          <a:stretch>
            <a:fillRect/>
          </a:stretch>
        </p:blipFill>
        <p:spPr>
          <a:xfrm>
            <a:off x="9383182" y="2840074"/>
            <a:ext cx="597711" cy="597711"/>
          </a:xfrm>
          <a:prstGeom prst="rect">
            <a:avLst/>
          </a:prstGeom>
        </p:spPr>
      </p:pic>
      <p:sp>
        <p:nvSpPr>
          <p:cNvPr id="18" name="Rounded Rectangle 17"/>
          <p:cNvSpPr/>
          <p:nvPr/>
        </p:nvSpPr>
        <p:spPr>
          <a:xfrm>
            <a:off x="9245451" y="4088803"/>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19" name="TextBox 18"/>
          <p:cNvSpPr txBox="1"/>
          <p:nvPr/>
        </p:nvSpPr>
        <p:spPr>
          <a:xfrm>
            <a:off x="11389071" y="3366923"/>
            <a:ext cx="590226" cy="182999"/>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Customs</a:t>
            </a:r>
          </a:p>
        </p:txBody>
      </p:sp>
      <p:sp>
        <p:nvSpPr>
          <p:cNvPr id="20" name="Rounded Rectangle 19"/>
          <p:cNvSpPr/>
          <p:nvPr/>
        </p:nvSpPr>
        <p:spPr>
          <a:xfrm>
            <a:off x="10736111" y="3895258"/>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21" name="TextBox 20"/>
          <p:cNvSpPr txBox="1"/>
          <p:nvPr/>
        </p:nvSpPr>
        <p:spPr>
          <a:xfrm>
            <a:off x="7822314" y="2313407"/>
            <a:ext cx="705642" cy="272767"/>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Logistics </a:t>
            </a:r>
          </a:p>
          <a:p>
            <a:pPr algn="ctr">
              <a:lnSpc>
                <a:spcPts val="700"/>
              </a:lnSpc>
            </a:pPr>
            <a:r>
              <a:rPr lang="en-US" sz="800" dirty="0">
                <a:solidFill>
                  <a:srgbClr val="0070C0"/>
                </a:solidFill>
                <a:latin typeface="Arial" pitchFamily="34" charset="0"/>
                <a:cs typeface="Arial" pitchFamily="34" charset="0"/>
              </a:rPr>
              <a:t>Companies</a:t>
            </a:r>
          </a:p>
        </p:txBody>
      </p:sp>
      <p:sp>
        <p:nvSpPr>
          <p:cNvPr id="22" name="Rounded Rectangle 21"/>
          <p:cNvSpPr/>
          <p:nvPr/>
        </p:nvSpPr>
        <p:spPr>
          <a:xfrm>
            <a:off x="7750789" y="1842048"/>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rgbClr val="0070C0"/>
                </a:solidFill>
              </a:rPr>
              <a:t> </a:t>
            </a:r>
          </a:p>
        </p:txBody>
      </p:sp>
      <p:sp>
        <p:nvSpPr>
          <p:cNvPr id="23" name="Rounded Rectangle 22"/>
          <p:cNvSpPr/>
          <p:nvPr/>
        </p:nvSpPr>
        <p:spPr>
          <a:xfrm>
            <a:off x="7750789" y="3895258"/>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24" name="TextBox 23"/>
          <p:cNvSpPr txBox="1"/>
          <p:nvPr/>
        </p:nvSpPr>
        <p:spPr>
          <a:xfrm>
            <a:off x="9184933" y="4578070"/>
            <a:ext cx="1026053" cy="272767"/>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Wholesales / Retailers</a:t>
            </a:r>
          </a:p>
        </p:txBody>
      </p:sp>
      <p:cxnSp>
        <p:nvCxnSpPr>
          <p:cNvPr id="25" name="Straight Connector 24"/>
          <p:cNvCxnSpPr/>
          <p:nvPr/>
        </p:nvCxnSpPr>
        <p:spPr>
          <a:xfrm flipH="1">
            <a:off x="8594169" y="3647937"/>
            <a:ext cx="403164" cy="284385"/>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3" idx="4"/>
            <a:endCxn id="18" idx="0"/>
          </p:cNvCxnSpPr>
          <p:nvPr/>
        </p:nvCxnSpPr>
        <p:spPr>
          <a:xfrm>
            <a:off x="9681985" y="3718271"/>
            <a:ext cx="1" cy="370532"/>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flipV="1">
            <a:off x="10299526" y="3659894"/>
            <a:ext cx="450924" cy="266493"/>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8594169" y="2495346"/>
            <a:ext cx="403164" cy="270542"/>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9" name="Picture 28" descr="technology.png"/>
          <p:cNvPicPr>
            <a:picLocks noChangeAspect="1"/>
          </p:cNvPicPr>
          <p:nvPr/>
        </p:nvPicPr>
        <p:blipFill>
          <a:blip r:embed="rId4" cstate="print"/>
          <a:stretch>
            <a:fillRect/>
          </a:stretch>
        </p:blipFill>
        <p:spPr>
          <a:xfrm>
            <a:off x="9550629" y="3376140"/>
            <a:ext cx="283754" cy="283754"/>
          </a:xfrm>
          <a:prstGeom prst="rect">
            <a:avLst/>
          </a:prstGeom>
        </p:spPr>
      </p:pic>
      <p:sp>
        <p:nvSpPr>
          <p:cNvPr id="30" name="TextBox 29"/>
          <p:cNvSpPr txBox="1"/>
          <p:nvPr/>
        </p:nvSpPr>
        <p:spPr>
          <a:xfrm>
            <a:off x="48591" y="549590"/>
            <a:ext cx="6933546" cy="374398"/>
          </a:xfrm>
          <a:prstGeom prst="rect">
            <a:avLst/>
          </a:prstGeom>
          <a:noFill/>
        </p:spPr>
        <p:txBody>
          <a:bodyPr wrap="square" rtlCol="0">
            <a:spAutoFit/>
          </a:bodyPr>
          <a:lstStyle/>
          <a:p>
            <a:pPr algn="ctr"/>
            <a:r>
              <a:rPr lang="en-US" sz="1833" b="1" u="sng" dirty="0">
                <a:latin typeface="IBM Plex Sans" panose="020B0503050000000000"/>
                <a:cs typeface="Arial" pitchFamily="34" charset="0"/>
              </a:rPr>
              <a:t>Current State Asset Provenance Value Chain Environment</a:t>
            </a:r>
          </a:p>
        </p:txBody>
      </p:sp>
      <p:sp>
        <p:nvSpPr>
          <p:cNvPr id="31" name="TextBox 30"/>
          <p:cNvSpPr txBox="1"/>
          <p:nvPr/>
        </p:nvSpPr>
        <p:spPr>
          <a:xfrm>
            <a:off x="6982137" y="549412"/>
            <a:ext cx="5141887" cy="656462"/>
          </a:xfrm>
          <a:prstGeom prst="rect">
            <a:avLst/>
          </a:prstGeom>
          <a:noFill/>
        </p:spPr>
        <p:txBody>
          <a:bodyPr wrap="square" rtlCol="0">
            <a:spAutoFit/>
          </a:bodyPr>
          <a:lstStyle/>
          <a:p>
            <a:pPr algn="ctr"/>
            <a:r>
              <a:rPr lang="en-US" sz="1833" b="1" u="sng" dirty="0">
                <a:solidFill>
                  <a:srgbClr val="0070C0"/>
                </a:solidFill>
                <a:latin typeface="IBM Plex Sans" panose="020B0503050000000000"/>
                <a:cs typeface="Arial" pitchFamily="34" charset="0"/>
              </a:rPr>
              <a:t>Future State Asset Provenance Value Chain Environment</a:t>
            </a:r>
          </a:p>
        </p:txBody>
      </p:sp>
      <p:sp>
        <p:nvSpPr>
          <p:cNvPr id="32" name="Rounded Rectangle 31"/>
          <p:cNvSpPr/>
          <p:nvPr/>
        </p:nvSpPr>
        <p:spPr>
          <a:xfrm>
            <a:off x="10736111" y="1842048"/>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33" name="TextBox 32"/>
          <p:cNvSpPr txBox="1"/>
          <p:nvPr/>
        </p:nvSpPr>
        <p:spPr>
          <a:xfrm>
            <a:off x="10762324" y="2349032"/>
            <a:ext cx="850610" cy="250325"/>
          </a:xfrm>
          <a:prstGeom prst="rect">
            <a:avLst/>
          </a:prstGeom>
          <a:noFill/>
        </p:spPr>
        <p:txBody>
          <a:bodyPr wrap="square" rtlCol="0">
            <a:spAutoFit/>
          </a:bodyPr>
          <a:lstStyle/>
          <a:p>
            <a:pPr algn="ctr">
              <a:lnSpc>
                <a:spcPts val="600"/>
              </a:lnSpc>
            </a:pPr>
            <a:r>
              <a:rPr lang="en-US" sz="800" dirty="0">
                <a:solidFill>
                  <a:srgbClr val="0070C0"/>
                </a:solidFill>
                <a:latin typeface="Arial" pitchFamily="34" charset="0"/>
                <a:cs typeface="Arial" pitchFamily="34" charset="0"/>
              </a:rPr>
              <a:t>Cross Boarder Agencies</a:t>
            </a:r>
          </a:p>
        </p:txBody>
      </p:sp>
      <p:pic>
        <p:nvPicPr>
          <p:cNvPr id="34" name="Picture 33" descr="USA Map.png"/>
          <p:cNvPicPr>
            <a:picLocks noChangeAspect="1"/>
          </p:cNvPicPr>
          <p:nvPr/>
        </p:nvPicPr>
        <p:blipFill>
          <a:blip r:embed="rId5" cstate="print"/>
          <a:stretch>
            <a:fillRect/>
          </a:stretch>
        </p:blipFill>
        <p:spPr>
          <a:xfrm>
            <a:off x="10785682" y="1798034"/>
            <a:ext cx="464637" cy="464637"/>
          </a:xfrm>
          <a:prstGeom prst="rect">
            <a:avLst/>
          </a:prstGeom>
        </p:spPr>
      </p:pic>
      <p:sp>
        <p:nvSpPr>
          <p:cNvPr id="35" name="Rounded Rectangle 34"/>
          <p:cNvSpPr/>
          <p:nvPr/>
        </p:nvSpPr>
        <p:spPr>
          <a:xfrm>
            <a:off x="11250957" y="2857042"/>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36" name="Picture 35" descr="Globe Map.png"/>
          <p:cNvPicPr>
            <a:picLocks noChangeAspect="1"/>
          </p:cNvPicPr>
          <p:nvPr/>
        </p:nvPicPr>
        <p:blipFill>
          <a:blip r:embed="rId6" cstate="print"/>
          <a:stretch>
            <a:fillRect/>
          </a:stretch>
        </p:blipFill>
        <p:spPr>
          <a:xfrm>
            <a:off x="11093973" y="1978103"/>
            <a:ext cx="481617" cy="481617"/>
          </a:xfrm>
          <a:prstGeom prst="rect">
            <a:avLst/>
          </a:prstGeom>
        </p:spPr>
      </p:pic>
      <p:cxnSp>
        <p:nvCxnSpPr>
          <p:cNvPr id="56" name="Straight Connector 23"/>
          <p:cNvCxnSpPr>
            <a:stCxn id="35" idx="1"/>
            <a:endCxn id="13" idx="6"/>
          </p:cNvCxnSpPr>
          <p:nvPr/>
        </p:nvCxnSpPr>
        <p:spPr>
          <a:xfrm flipH="1">
            <a:off x="10970500" y="3203779"/>
            <a:ext cx="280456" cy="0"/>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57" name="Picture 56" descr="Report 3.png"/>
          <p:cNvPicPr>
            <a:picLocks noChangeAspect="1"/>
          </p:cNvPicPr>
          <p:nvPr/>
        </p:nvPicPr>
        <p:blipFill>
          <a:blip r:embed="rId7" cstate="print"/>
          <a:stretch>
            <a:fillRect/>
          </a:stretch>
        </p:blipFill>
        <p:spPr>
          <a:xfrm>
            <a:off x="9213593" y="2585450"/>
            <a:ext cx="180439" cy="180439"/>
          </a:xfrm>
          <a:prstGeom prst="rect">
            <a:avLst/>
          </a:prstGeom>
        </p:spPr>
      </p:pic>
      <p:pic>
        <p:nvPicPr>
          <p:cNvPr id="58" name="Picture 57" descr="Report 3.png"/>
          <p:cNvPicPr>
            <a:picLocks noChangeAspect="1"/>
          </p:cNvPicPr>
          <p:nvPr/>
        </p:nvPicPr>
        <p:blipFill>
          <a:blip r:embed="rId7" cstate="print"/>
          <a:stretch>
            <a:fillRect/>
          </a:stretch>
        </p:blipFill>
        <p:spPr>
          <a:xfrm>
            <a:off x="10004140" y="2585450"/>
            <a:ext cx="180439" cy="180439"/>
          </a:xfrm>
          <a:prstGeom prst="rect">
            <a:avLst/>
          </a:prstGeom>
        </p:spPr>
      </p:pic>
      <p:pic>
        <p:nvPicPr>
          <p:cNvPr id="59" name="Picture 58" descr="Report 3.png"/>
          <p:cNvPicPr>
            <a:picLocks noChangeAspect="1"/>
          </p:cNvPicPr>
          <p:nvPr/>
        </p:nvPicPr>
        <p:blipFill>
          <a:blip r:embed="rId7" cstate="print"/>
          <a:stretch>
            <a:fillRect/>
          </a:stretch>
        </p:blipFill>
        <p:spPr>
          <a:xfrm>
            <a:off x="10570012" y="2825394"/>
            <a:ext cx="180439" cy="180439"/>
          </a:xfrm>
          <a:prstGeom prst="rect">
            <a:avLst/>
          </a:prstGeom>
        </p:spPr>
      </p:pic>
      <p:pic>
        <p:nvPicPr>
          <p:cNvPr id="60" name="Picture 59" descr="Report 3.png"/>
          <p:cNvPicPr>
            <a:picLocks noChangeAspect="1"/>
          </p:cNvPicPr>
          <p:nvPr/>
        </p:nvPicPr>
        <p:blipFill>
          <a:blip r:embed="rId7" cstate="print"/>
          <a:stretch>
            <a:fillRect/>
          </a:stretch>
        </p:blipFill>
        <p:spPr>
          <a:xfrm>
            <a:off x="10570012" y="3419812"/>
            <a:ext cx="180439" cy="180439"/>
          </a:xfrm>
          <a:prstGeom prst="rect">
            <a:avLst/>
          </a:prstGeom>
        </p:spPr>
      </p:pic>
      <p:pic>
        <p:nvPicPr>
          <p:cNvPr id="61" name="Picture 60" descr="Report 3.png"/>
          <p:cNvPicPr>
            <a:picLocks noChangeAspect="1"/>
          </p:cNvPicPr>
          <p:nvPr/>
        </p:nvPicPr>
        <p:blipFill>
          <a:blip r:embed="rId7" cstate="print"/>
          <a:stretch>
            <a:fillRect/>
          </a:stretch>
        </p:blipFill>
        <p:spPr>
          <a:xfrm>
            <a:off x="10004140" y="3613124"/>
            <a:ext cx="180439" cy="180439"/>
          </a:xfrm>
          <a:prstGeom prst="rect">
            <a:avLst/>
          </a:prstGeom>
        </p:spPr>
      </p:pic>
      <p:pic>
        <p:nvPicPr>
          <p:cNvPr id="62" name="Picture 61" descr="Report 3.png"/>
          <p:cNvPicPr>
            <a:picLocks noChangeAspect="1"/>
          </p:cNvPicPr>
          <p:nvPr/>
        </p:nvPicPr>
        <p:blipFill>
          <a:blip r:embed="rId7" cstate="print"/>
          <a:stretch>
            <a:fillRect/>
          </a:stretch>
        </p:blipFill>
        <p:spPr>
          <a:xfrm>
            <a:off x="9213593" y="3613124"/>
            <a:ext cx="180439" cy="180439"/>
          </a:xfrm>
          <a:prstGeom prst="rect">
            <a:avLst/>
          </a:prstGeom>
        </p:spPr>
      </p:pic>
      <p:pic>
        <p:nvPicPr>
          <p:cNvPr id="63" name="Picture 62" descr="Report 3.png"/>
          <p:cNvPicPr>
            <a:picLocks noChangeAspect="1"/>
          </p:cNvPicPr>
          <p:nvPr/>
        </p:nvPicPr>
        <p:blipFill>
          <a:blip r:embed="rId7" cstate="print"/>
          <a:stretch>
            <a:fillRect/>
          </a:stretch>
        </p:blipFill>
        <p:spPr>
          <a:xfrm>
            <a:off x="8514668" y="3419812"/>
            <a:ext cx="180439" cy="180439"/>
          </a:xfrm>
          <a:prstGeom prst="rect">
            <a:avLst/>
          </a:prstGeom>
        </p:spPr>
      </p:pic>
      <p:cxnSp>
        <p:nvCxnSpPr>
          <p:cNvPr id="77" name="Straight Connector 76"/>
          <p:cNvCxnSpPr/>
          <p:nvPr/>
        </p:nvCxnSpPr>
        <p:spPr>
          <a:xfrm flipH="1">
            <a:off x="10399974" y="2525720"/>
            <a:ext cx="385708" cy="240168"/>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7750788" y="4396026"/>
            <a:ext cx="875765" cy="272767"/>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Refineries  / Smelters </a:t>
            </a:r>
          </a:p>
        </p:txBody>
      </p:sp>
      <p:cxnSp>
        <p:nvCxnSpPr>
          <p:cNvPr id="79" name="Straight Connector 78"/>
          <p:cNvCxnSpPr>
            <a:stCxn id="171" idx="2"/>
            <a:endCxn id="13" idx="0"/>
          </p:cNvCxnSpPr>
          <p:nvPr/>
        </p:nvCxnSpPr>
        <p:spPr>
          <a:xfrm flipH="1">
            <a:off x="9681985" y="2284876"/>
            <a:ext cx="1" cy="404411"/>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0" name="Picture 99" descr="0 - Book.png"/>
          <p:cNvPicPr>
            <a:picLocks noChangeAspect="1"/>
          </p:cNvPicPr>
          <p:nvPr/>
        </p:nvPicPr>
        <p:blipFill>
          <a:blip r:embed="rId8" cstate="print"/>
          <a:stretch>
            <a:fillRect/>
          </a:stretch>
        </p:blipFill>
        <p:spPr>
          <a:xfrm>
            <a:off x="187960" y="813629"/>
            <a:ext cx="371286" cy="371286"/>
          </a:xfrm>
          <a:prstGeom prst="rect">
            <a:avLst/>
          </a:prstGeom>
        </p:spPr>
      </p:pic>
      <p:sp>
        <p:nvSpPr>
          <p:cNvPr id="169" name="Rounded Rectangle 168"/>
          <p:cNvSpPr/>
          <p:nvPr/>
        </p:nvSpPr>
        <p:spPr>
          <a:xfrm>
            <a:off x="7239943" y="2857042"/>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cxnSp>
        <p:nvCxnSpPr>
          <p:cNvPr id="170" name="Straight Connector 23"/>
          <p:cNvCxnSpPr>
            <a:stCxn id="13" idx="2"/>
            <a:endCxn id="169" idx="3"/>
          </p:cNvCxnSpPr>
          <p:nvPr/>
        </p:nvCxnSpPr>
        <p:spPr>
          <a:xfrm flipH="1">
            <a:off x="8113012" y="3203779"/>
            <a:ext cx="280457" cy="0"/>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9245451" y="1591400"/>
            <a:ext cx="873069" cy="693475"/>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177" name="Picture 176" descr="Report 3.png"/>
          <p:cNvPicPr>
            <a:picLocks noChangeAspect="1"/>
          </p:cNvPicPr>
          <p:nvPr/>
        </p:nvPicPr>
        <p:blipFill>
          <a:blip r:embed="rId7" cstate="print"/>
          <a:stretch>
            <a:fillRect/>
          </a:stretch>
        </p:blipFill>
        <p:spPr>
          <a:xfrm>
            <a:off x="8514668" y="2825394"/>
            <a:ext cx="180439" cy="180439"/>
          </a:xfrm>
          <a:prstGeom prst="rect">
            <a:avLst/>
          </a:prstGeom>
        </p:spPr>
      </p:pic>
      <p:pic>
        <p:nvPicPr>
          <p:cNvPr id="178" name="Picture 177" descr="customs.png"/>
          <p:cNvPicPr>
            <a:picLocks noChangeAspect="1"/>
          </p:cNvPicPr>
          <p:nvPr/>
        </p:nvPicPr>
        <p:blipFill>
          <a:blip r:embed="rId9" cstate="print"/>
          <a:stretch>
            <a:fillRect/>
          </a:stretch>
        </p:blipFill>
        <p:spPr>
          <a:xfrm>
            <a:off x="11411557" y="2905895"/>
            <a:ext cx="454430" cy="454430"/>
          </a:xfrm>
          <a:prstGeom prst="rect">
            <a:avLst/>
          </a:prstGeom>
        </p:spPr>
      </p:pic>
      <p:pic>
        <p:nvPicPr>
          <p:cNvPr id="179" name="Picture 178" descr="government 1.png"/>
          <p:cNvPicPr>
            <a:picLocks noChangeAspect="1"/>
          </p:cNvPicPr>
          <p:nvPr/>
        </p:nvPicPr>
        <p:blipFill>
          <a:blip r:embed="rId10" cstate="print"/>
          <a:stretch>
            <a:fillRect/>
          </a:stretch>
        </p:blipFill>
        <p:spPr>
          <a:xfrm>
            <a:off x="10772598" y="3910118"/>
            <a:ext cx="382491" cy="382491"/>
          </a:xfrm>
          <a:prstGeom prst="rect">
            <a:avLst/>
          </a:prstGeom>
        </p:spPr>
      </p:pic>
      <p:sp>
        <p:nvSpPr>
          <p:cNvPr id="180" name="TextBox 179"/>
          <p:cNvSpPr txBox="1"/>
          <p:nvPr/>
        </p:nvSpPr>
        <p:spPr>
          <a:xfrm>
            <a:off x="10760606" y="4399653"/>
            <a:ext cx="850610" cy="250325"/>
          </a:xfrm>
          <a:prstGeom prst="rect">
            <a:avLst/>
          </a:prstGeom>
          <a:noFill/>
        </p:spPr>
        <p:txBody>
          <a:bodyPr wrap="square" rtlCol="0">
            <a:spAutoFit/>
          </a:bodyPr>
          <a:lstStyle/>
          <a:p>
            <a:pPr algn="ctr">
              <a:lnSpc>
                <a:spcPts val="600"/>
              </a:lnSpc>
            </a:pPr>
            <a:r>
              <a:rPr lang="en-US" sz="800" dirty="0">
                <a:solidFill>
                  <a:srgbClr val="0070C0"/>
                </a:solidFill>
                <a:latin typeface="Arial" pitchFamily="34" charset="0"/>
                <a:cs typeface="Arial" pitchFamily="34" charset="0"/>
              </a:rPr>
              <a:t>Regulatory Agencies</a:t>
            </a:r>
          </a:p>
        </p:txBody>
      </p:sp>
      <p:sp>
        <p:nvSpPr>
          <p:cNvPr id="181" name="TextBox 180"/>
          <p:cNvSpPr txBox="1"/>
          <p:nvPr/>
        </p:nvSpPr>
        <p:spPr>
          <a:xfrm>
            <a:off x="7206424" y="3316232"/>
            <a:ext cx="967725" cy="272767"/>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Traders,  Exporters, Banks</a:t>
            </a:r>
          </a:p>
        </p:txBody>
      </p:sp>
      <p:pic>
        <p:nvPicPr>
          <p:cNvPr id="182" name="Picture 181" descr="airplane.png"/>
          <p:cNvPicPr>
            <a:picLocks noChangeAspect="1"/>
          </p:cNvPicPr>
          <p:nvPr/>
        </p:nvPicPr>
        <p:blipFill>
          <a:blip r:embed="rId11" cstate="print"/>
          <a:stretch>
            <a:fillRect/>
          </a:stretch>
        </p:blipFill>
        <p:spPr>
          <a:xfrm>
            <a:off x="8169346" y="1769380"/>
            <a:ext cx="399290" cy="399290"/>
          </a:xfrm>
          <a:prstGeom prst="rect">
            <a:avLst/>
          </a:prstGeom>
        </p:spPr>
      </p:pic>
      <p:pic>
        <p:nvPicPr>
          <p:cNvPr id="183" name="Picture 182" descr="truck 4.png"/>
          <p:cNvPicPr>
            <a:picLocks noChangeAspect="1"/>
          </p:cNvPicPr>
          <p:nvPr/>
        </p:nvPicPr>
        <p:blipFill>
          <a:blip r:embed="rId12" cstate="print"/>
          <a:stretch>
            <a:fillRect/>
          </a:stretch>
        </p:blipFill>
        <p:spPr>
          <a:xfrm flipH="1">
            <a:off x="7701963" y="1720992"/>
            <a:ext cx="503008" cy="503008"/>
          </a:xfrm>
          <a:prstGeom prst="rect">
            <a:avLst/>
          </a:prstGeom>
        </p:spPr>
      </p:pic>
      <p:pic>
        <p:nvPicPr>
          <p:cNvPr id="184" name="Picture 183" descr="Helicoptor.png"/>
          <p:cNvPicPr>
            <a:picLocks noChangeAspect="1"/>
          </p:cNvPicPr>
          <p:nvPr/>
        </p:nvPicPr>
        <p:blipFill>
          <a:blip r:embed="rId13" cstate="print"/>
          <a:stretch>
            <a:fillRect/>
          </a:stretch>
        </p:blipFill>
        <p:spPr>
          <a:xfrm>
            <a:off x="7962511" y="1994893"/>
            <a:ext cx="417119" cy="417119"/>
          </a:xfrm>
          <a:prstGeom prst="rect">
            <a:avLst/>
          </a:prstGeom>
        </p:spPr>
      </p:pic>
      <p:pic>
        <p:nvPicPr>
          <p:cNvPr id="185" name="Picture 184" descr="Security officer.png"/>
          <p:cNvPicPr>
            <a:picLocks noChangeAspect="1"/>
          </p:cNvPicPr>
          <p:nvPr/>
        </p:nvPicPr>
        <p:blipFill>
          <a:blip r:embed="rId14" cstate="print"/>
          <a:stretch>
            <a:fillRect/>
          </a:stretch>
        </p:blipFill>
        <p:spPr>
          <a:xfrm>
            <a:off x="8327455" y="2087337"/>
            <a:ext cx="278291" cy="278291"/>
          </a:xfrm>
          <a:prstGeom prst="rect">
            <a:avLst/>
          </a:prstGeom>
        </p:spPr>
      </p:pic>
      <p:pic>
        <p:nvPicPr>
          <p:cNvPr id="198" name="Picture 197" descr="traders.png"/>
          <p:cNvPicPr>
            <a:picLocks noChangeAspect="1"/>
          </p:cNvPicPr>
          <p:nvPr/>
        </p:nvPicPr>
        <p:blipFill>
          <a:blip r:embed="rId15" cstate="print"/>
          <a:stretch>
            <a:fillRect/>
          </a:stretch>
        </p:blipFill>
        <p:spPr>
          <a:xfrm>
            <a:off x="7272514" y="2947849"/>
            <a:ext cx="346123" cy="346123"/>
          </a:xfrm>
          <a:prstGeom prst="rect">
            <a:avLst/>
          </a:prstGeom>
        </p:spPr>
      </p:pic>
      <p:pic>
        <p:nvPicPr>
          <p:cNvPr id="199" name="Picture 198" descr="Bank 1.png"/>
          <p:cNvPicPr>
            <a:picLocks noChangeAspect="1"/>
          </p:cNvPicPr>
          <p:nvPr/>
        </p:nvPicPr>
        <p:blipFill>
          <a:blip r:embed="rId16" cstate="print"/>
          <a:stretch>
            <a:fillRect/>
          </a:stretch>
        </p:blipFill>
        <p:spPr>
          <a:xfrm>
            <a:off x="7701964" y="2929089"/>
            <a:ext cx="349531" cy="349531"/>
          </a:xfrm>
          <a:prstGeom prst="rect">
            <a:avLst/>
          </a:prstGeom>
        </p:spPr>
      </p:pic>
      <p:pic>
        <p:nvPicPr>
          <p:cNvPr id="200" name="Picture 199" descr="gold refinery.png"/>
          <p:cNvPicPr>
            <a:picLocks noChangeAspect="1"/>
          </p:cNvPicPr>
          <p:nvPr/>
        </p:nvPicPr>
        <p:blipFill>
          <a:blip r:embed="rId17" cstate="print"/>
          <a:stretch>
            <a:fillRect/>
          </a:stretch>
        </p:blipFill>
        <p:spPr>
          <a:xfrm>
            <a:off x="7926886" y="3891972"/>
            <a:ext cx="517954" cy="517954"/>
          </a:xfrm>
          <a:prstGeom prst="rect">
            <a:avLst/>
          </a:prstGeom>
        </p:spPr>
      </p:pic>
      <p:pic>
        <p:nvPicPr>
          <p:cNvPr id="201" name="Picture 200" descr="wholesaler 1.png"/>
          <p:cNvPicPr>
            <a:picLocks noChangeAspect="1"/>
          </p:cNvPicPr>
          <p:nvPr/>
        </p:nvPicPr>
        <p:blipFill>
          <a:blip r:embed="rId18" cstate="print"/>
          <a:stretch>
            <a:fillRect/>
          </a:stretch>
        </p:blipFill>
        <p:spPr>
          <a:xfrm>
            <a:off x="9331353" y="4178297"/>
            <a:ext cx="166358" cy="166358"/>
          </a:xfrm>
          <a:prstGeom prst="rect">
            <a:avLst/>
          </a:prstGeom>
        </p:spPr>
      </p:pic>
      <p:pic>
        <p:nvPicPr>
          <p:cNvPr id="202" name="Picture 201" descr="wholesaler 2.png"/>
          <p:cNvPicPr>
            <a:picLocks noChangeAspect="1"/>
          </p:cNvPicPr>
          <p:nvPr/>
        </p:nvPicPr>
        <p:blipFill>
          <a:blip r:embed="rId19" cstate="print"/>
          <a:stretch>
            <a:fillRect/>
          </a:stretch>
        </p:blipFill>
        <p:spPr>
          <a:xfrm>
            <a:off x="9497711" y="4265701"/>
            <a:ext cx="250668" cy="250668"/>
          </a:xfrm>
          <a:prstGeom prst="rect">
            <a:avLst/>
          </a:prstGeom>
        </p:spPr>
      </p:pic>
      <p:pic>
        <p:nvPicPr>
          <p:cNvPr id="203" name="Picture 202" descr="wholesaler 3.png"/>
          <p:cNvPicPr>
            <a:picLocks noChangeAspect="1"/>
          </p:cNvPicPr>
          <p:nvPr/>
        </p:nvPicPr>
        <p:blipFill>
          <a:blip r:embed="rId20" cstate="print"/>
          <a:stretch>
            <a:fillRect/>
          </a:stretch>
        </p:blipFill>
        <p:spPr>
          <a:xfrm>
            <a:off x="9343229" y="4406170"/>
            <a:ext cx="168453" cy="168453"/>
          </a:xfrm>
          <a:prstGeom prst="rect">
            <a:avLst/>
          </a:prstGeom>
        </p:spPr>
      </p:pic>
      <p:pic>
        <p:nvPicPr>
          <p:cNvPr id="204" name="Picture 203" descr="Retailer.png"/>
          <p:cNvPicPr>
            <a:picLocks noChangeAspect="1"/>
          </p:cNvPicPr>
          <p:nvPr/>
        </p:nvPicPr>
        <p:blipFill>
          <a:blip r:embed="rId21" cstate="print"/>
          <a:stretch>
            <a:fillRect/>
          </a:stretch>
        </p:blipFill>
        <p:spPr>
          <a:xfrm>
            <a:off x="9754419" y="4162605"/>
            <a:ext cx="364101" cy="364101"/>
          </a:xfrm>
          <a:prstGeom prst="rect">
            <a:avLst/>
          </a:prstGeom>
        </p:spPr>
      </p:pic>
      <p:sp>
        <p:nvSpPr>
          <p:cNvPr id="205" name="TextBox 204"/>
          <p:cNvSpPr txBox="1"/>
          <p:nvPr/>
        </p:nvSpPr>
        <p:spPr>
          <a:xfrm>
            <a:off x="11062306" y="3922795"/>
            <a:ext cx="636574" cy="481157"/>
          </a:xfrm>
          <a:prstGeom prst="rect">
            <a:avLst/>
          </a:prstGeom>
          <a:noFill/>
        </p:spPr>
        <p:txBody>
          <a:bodyPr wrap="square" rtlCol="0">
            <a:spAutoFit/>
          </a:bodyPr>
          <a:lstStyle/>
          <a:p>
            <a:pPr algn="ctr">
              <a:lnSpc>
                <a:spcPts val="600"/>
              </a:lnSpc>
            </a:pPr>
            <a:r>
              <a:rPr lang="en-US" sz="800" dirty="0">
                <a:solidFill>
                  <a:srgbClr val="0070C0"/>
                </a:solidFill>
                <a:latin typeface="Arial" pitchFamily="34" charset="0"/>
                <a:cs typeface="Arial" pitchFamily="34" charset="0"/>
              </a:rPr>
              <a:t>Local,</a:t>
            </a:r>
          </a:p>
          <a:p>
            <a:pPr algn="ctr">
              <a:lnSpc>
                <a:spcPts val="600"/>
              </a:lnSpc>
            </a:pPr>
            <a:r>
              <a:rPr lang="en-US" sz="800" dirty="0">
                <a:solidFill>
                  <a:srgbClr val="0070C0"/>
                </a:solidFill>
                <a:latin typeface="Arial" pitchFamily="34" charset="0"/>
                <a:cs typeface="Arial" pitchFamily="34" charset="0"/>
              </a:rPr>
              <a:t>State,</a:t>
            </a:r>
          </a:p>
          <a:p>
            <a:pPr algn="ctr">
              <a:lnSpc>
                <a:spcPts val="600"/>
              </a:lnSpc>
            </a:pPr>
            <a:r>
              <a:rPr lang="en-US" sz="800" dirty="0">
                <a:solidFill>
                  <a:srgbClr val="0070C0"/>
                </a:solidFill>
                <a:latin typeface="Arial" pitchFamily="34" charset="0"/>
                <a:cs typeface="Arial" pitchFamily="34" charset="0"/>
              </a:rPr>
              <a:t>Federal,</a:t>
            </a:r>
          </a:p>
          <a:p>
            <a:pPr algn="ctr">
              <a:lnSpc>
                <a:spcPts val="600"/>
              </a:lnSpc>
            </a:pPr>
            <a:r>
              <a:rPr lang="en-US" sz="800" dirty="0">
                <a:solidFill>
                  <a:srgbClr val="0070C0"/>
                </a:solidFill>
                <a:latin typeface="Arial" pitchFamily="34" charset="0"/>
                <a:cs typeface="Arial" pitchFamily="34" charset="0"/>
              </a:rPr>
              <a:t>Tax, </a:t>
            </a:r>
          </a:p>
          <a:p>
            <a:pPr algn="ctr">
              <a:lnSpc>
                <a:spcPts val="600"/>
              </a:lnSpc>
            </a:pPr>
            <a:r>
              <a:rPr lang="en-US" sz="800" dirty="0">
                <a:solidFill>
                  <a:srgbClr val="0070C0"/>
                </a:solidFill>
                <a:latin typeface="Arial" pitchFamily="34" charset="0"/>
                <a:cs typeface="Arial" pitchFamily="34" charset="0"/>
              </a:rPr>
              <a:t>Etc.</a:t>
            </a:r>
          </a:p>
        </p:txBody>
      </p:sp>
      <p:sp>
        <p:nvSpPr>
          <p:cNvPr id="206" name="TextBox 205"/>
          <p:cNvSpPr txBox="1"/>
          <p:nvPr/>
        </p:nvSpPr>
        <p:spPr>
          <a:xfrm>
            <a:off x="10753095" y="4292610"/>
            <a:ext cx="850610" cy="173381"/>
          </a:xfrm>
          <a:prstGeom prst="rect">
            <a:avLst/>
          </a:prstGeom>
          <a:noFill/>
        </p:spPr>
        <p:txBody>
          <a:bodyPr wrap="square" rtlCol="0">
            <a:spAutoFit/>
          </a:bodyPr>
          <a:lstStyle/>
          <a:p>
            <a:pPr algn="ctr">
              <a:lnSpc>
                <a:spcPts val="600"/>
              </a:lnSpc>
            </a:pPr>
            <a:r>
              <a:rPr lang="en-US" sz="800" dirty="0">
                <a:solidFill>
                  <a:srgbClr val="0070C0"/>
                </a:solidFill>
                <a:latin typeface="Arial" pitchFamily="34" charset="0"/>
                <a:cs typeface="Arial" pitchFamily="34" charset="0"/>
              </a:rPr>
              <a:t>Environmental</a:t>
            </a:r>
          </a:p>
        </p:txBody>
      </p:sp>
      <p:grpSp>
        <p:nvGrpSpPr>
          <p:cNvPr id="3" name="Group 2">
            <a:extLst>
              <a:ext uri="{FF2B5EF4-FFF2-40B4-BE49-F238E27FC236}">
                <a16:creationId xmlns:a16="http://schemas.microsoft.com/office/drawing/2014/main" id="{48F7AD01-2C7B-452E-88A1-01E732E1CEEE}"/>
              </a:ext>
            </a:extLst>
          </p:cNvPr>
          <p:cNvGrpSpPr/>
          <p:nvPr/>
        </p:nvGrpSpPr>
        <p:grpSpPr>
          <a:xfrm>
            <a:off x="282933" y="916851"/>
            <a:ext cx="6702068" cy="5275015"/>
            <a:chOff x="105407" y="1100220"/>
            <a:chExt cx="8495929" cy="6528237"/>
          </a:xfrm>
        </p:grpSpPr>
        <p:sp>
          <p:nvSpPr>
            <p:cNvPr id="37" name="Rounded Rectangle 36"/>
            <p:cNvSpPr/>
            <p:nvPr/>
          </p:nvSpPr>
          <p:spPr>
            <a:xfrm>
              <a:off x="1650824" y="5298142"/>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38" name="Picture 37" descr="0 - Book.png"/>
            <p:cNvPicPr>
              <a:picLocks noChangeAspect="1"/>
            </p:cNvPicPr>
            <p:nvPr/>
          </p:nvPicPr>
          <p:blipFill>
            <a:blip r:embed="rId8" cstate="print"/>
            <a:stretch>
              <a:fillRect/>
            </a:stretch>
          </p:blipFill>
          <p:spPr>
            <a:xfrm>
              <a:off x="105407" y="5114856"/>
              <a:ext cx="445543" cy="445543"/>
            </a:xfrm>
            <a:prstGeom prst="rect">
              <a:avLst/>
            </a:prstGeom>
          </p:spPr>
        </p:pic>
        <p:sp>
          <p:nvSpPr>
            <p:cNvPr id="39" name="Rounded Rectangle 38"/>
            <p:cNvSpPr/>
            <p:nvPr/>
          </p:nvSpPr>
          <p:spPr>
            <a:xfrm>
              <a:off x="5640530" y="5298142"/>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40" name="Picture 39" descr="0 - Book.png"/>
            <p:cNvPicPr>
              <a:picLocks noChangeAspect="1"/>
            </p:cNvPicPr>
            <p:nvPr/>
          </p:nvPicPr>
          <p:blipFill>
            <a:blip r:embed="rId8" cstate="print"/>
            <a:stretch>
              <a:fillRect/>
            </a:stretch>
          </p:blipFill>
          <p:spPr>
            <a:xfrm>
              <a:off x="4080088" y="5114856"/>
              <a:ext cx="445543" cy="445543"/>
            </a:xfrm>
            <a:prstGeom prst="rect">
              <a:avLst/>
            </a:prstGeom>
          </p:spPr>
        </p:pic>
        <p:sp>
          <p:nvSpPr>
            <p:cNvPr id="41" name="Rounded Rectangle 40"/>
            <p:cNvSpPr/>
            <p:nvPr/>
          </p:nvSpPr>
          <p:spPr>
            <a:xfrm>
              <a:off x="2980726" y="5298142"/>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42" name="Picture 41" descr="0 - Book.png"/>
            <p:cNvPicPr>
              <a:picLocks noChangeAspect="1"/>
            </p:cNvPicPr>
            <p:nvPr/>
          </p:nvPicPr>
          <p:blipFill>
            <a:blip r:embed="rId8" cstate="print"/>
            <a:stretch>
              <a:fillRect/>
            </a:stretch>
          </p:blipFill>
          <p:spPr>
            <a:xfrm>
              <a:off x="1418243" y="5114856"/>
              <a:ext cx="445543" cy="445543"/>
            </a:xfrm>
            <a:prstGeom prst="rect">
              <a:avLst/>
            </a:prstGeom>
          </p:spPr>
        </p:pic>
        <p:pic>
          <p:nvPicPr>
            <p:cNvPr id="43" name="Picture 42" descr="0 - Book.png"/>
            <p:cNvPicPr>
              <a:picLocks noChangeAspect="1"/>
            </p:cNvPicPr>
            <p:nvPr/>
          </p:nvPicPr>
          <p:blipFill>
            <a:blip r:embed="rId8" cstate="print"/>
            <a:stretch>
              <a:fillRect/>
            </a:stretch>
          </p:blipFill>
          <p:spPr>
            <a:xfrm>
              <a:off x="8155793" y="2406313"/>
              <a:ext cx="445543" cy="445543"/>
            </a:xfrm>
            <a:prstGeom prst="rect">
              <a:avLst/>
            </a:prstGeom>
          </p:spPr>
        </p:pic>
        <p:sp>
          <p:nvSpPr>
            <p:cNvPr id="44" name="TextBox 43"/>
            <p:cNvSpPr txBox="1"/>
            <p:nvPr/>
          </p:nvSpPr>
          <p:spPr>
            <a:xfrm>
              <a:off x="7387298" y="7290887"/>
              <a:ext cx="955474" cy="337570"/>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International</a:t>
              </a:r>
            </a:p>
            <a:p>
              <a:pPr algn="ctr">
                <a:lnSpc>
                  <a:spcPts val="700"/>
                </a:lnSpc>
              </a:pPr>
              <a:r>
                <a:rPr lang="en-US" sz="800" dirty="0">
                  <a:solidFill>
                    <a:srgbClr val="0070C0"/>
                  </a:solidFill>
                  <a:latin typeface="Arial" pitchFamily="34" charset="0"/>
                  <a:cs typeface="Arial" pitchFamily="34" charset="0"/>
                </a:rPr>
                <a:t>Borders</a:t>
              </a:r>
            </a:p>
          </p:txBody>
        </p:sp>
        <p:sp>
          <p:nvSpPr>
            <p:cNvPr id="45" name="TextBox 44"/>
            <p:cNvSpPr txBox="1"/>
            <p:nvPr/>
          </p:nvSpPr>
          <p:spPr>
            <a:xfrm>
              <a:off x="7227083" y="5204500"/>
              <a:ext cx="1286592" cy="448665"/>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Federal Regulatory </a:t>
              </a:r>
            </a:p>
            <a:p>
              <a:pPr algn="ctr">
                <a:lnSpc>
                  <a:spcPts val="700"/>
                </a:lnSpc>
              </a:pPr>
              <a:r>
                <a:rPr lang="en-US" sz="800" dirty="0">
                  <a:solidFill>
                    <a:srgbClr val="0070C0"/>
                  </a:solidFill>
                  <a:latin typeface="Arial" pitchFamily="34" charset="0"/>
                  <a:cs typeface="Arial" pitchFamily="34" charset="0"/>
                </a:rPr>
                <a:t>Agencies</a:t>
              </a:r>
            </a:p>
          </p:txBody>
        </p:sp>
        <p:pic>
          <p:nvPicPr>
            <p:cNvPr id="46" name="Picture 45" descr="government 1.png"/>
            <p:cNvPicPr>
              <a:picLocks noChangeAspect="1"/>
            </p:cNvPicPr>
            <p:nvPr/>
          </p:nvPicPr>
          <p:blipFill>
            <a:blip r:embed="rId10" cstate="print"/>
            <a:stretch>
              <a:fillRect/>
            </a:stretch>
          </p:blipFill>
          <p:spPr>
            <a:xfrm>
              <a:off x="7501962" y="2570309"/>
              <a:ext cx="675017" cy="675017"/>
            </a:xfrm>
            <a:prstGeom prst="rect">
              <a:avLst/>
            </a:prstGeom>
          </p:spPr>
        </p:pic>
        <p:pic>
          <p:nvPicPr>
            <p:cNvPr id="47" name="Picture 46" descr="0 - Book.png"/>
            <p:cNvPicPr>
              <a:picLocks noChangeAspect="1"/>
            </p:cNvPicPr>
            <p:nvPr/>
          </p:nvPicPr>
          <p:blipFill>
            <a:blip r:embed="rId8" cstate="print"/>
            <a:stretch>
              <a:fillRect/>
            </a:stretch>
          </p:blipFill>
          <p:spPr>
            <a:xfrm>
              <a:off x="8155733" y="4459060"/>
              <a:ext cx="445543" cy="445543"/>
            </a:xfrm>
            <a:prstGeom prst="rect">
              <a:avLst/>
            </a:prstGeom>
          </p:spPr>
        </p:pic>
        <p:sp>
          <p:nvSpPr>
            <p:cNvPr id="48" name="TextBox 47"/>
            <p:cNvSpPr txBox="1"/>
            <p:nvPr/>
          </p:nvSpPr>
          <p:spPr>
            <a:xfrm>
              <a:off x="7220912" y="4192130"/>
              <a:ext cx="1308781" cy="337570"/>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State Regulatory </a:t>
              </a:r>
            </a:p>
            <a:p>
              <a:pPr algn="ctr">
                <a:lnSpc>
                  <a:spcPts val="700"/>
                </a:lnSpc>
              </a:pPr>
              <a:r>
                <a:rPr lang="en-US" sz="800" dirty="0">
                  <a:solidFill>
                    <a:srgbClr val="0070C0"/>
                  </a:solidFill>
                  <a:latin typeface="Arial" pitchFamily="34" charset="0"/>
                  <a:cs typeface="Arial" pitchFamily="34" charset="0"/>
                </a:rPr>
                <a:t>Agencies</a:t>
              </a:r>
            </a:p>
          </p:txBody>
        </p:sp>
        <p:pic>
          <p:nvPicPr>
            <p:cNvPr id="49" name="Picture 48" descr="0 - Book.png"/>
            <p:cNvPicPr>
              <a:picLocks noChangeAspect="1"/>
            </p:cNvPicPr>
            <p:nvPr/>
          </p:nvPicPr>
          <p:blipFill>
            <a:blip r:embed="rId8" cstate="print"/>
            <a:stretch>
              <a:fillRect/>
            </a:stretch>
          </p:blipFill>
          <p:spPr>
            <a:xfrm>
              <a:off x="8155733" y="5510178"/>
              <a:ext cx="445543" cy="445543"/>
            </a:xfrm>
            <a:prstGeom prst="rect">
              <a:avLst/>
            </a:prstGeom>
          </p:spPr>
        </p:pic>
        <p:sp>
          <p:nvSpPr>
            <p:cNvPr id="50" name="TextBox 49"/>
            <p:cNvSpPr txBox="1"/>
            <p:nvPr/>
          </p:nvSpPr>
          <p:spPr>
            <a:xfrm>
              <a:off x="7206083" y="3151290"/>
              <a:ext cx="1335879" cy="337570"/>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Local Regulatory </a:t>
              </a:r>
            </a:p>
            <a:p>
              <a:pPr algn="ctr">
                <a:lnSpc>
                  <a:spcPts val="700"/>
                </a:lnSpc>
              </a:pPr>
              <a:r>
                <a:rPr lang="en-US" sz="800" dirty="0">
                  <a:solidFill>
                    <a:srgbClr val="0070C0"/>
                  </a:solidFill>
                  <a:latin typeface="Arial" pitchFamily="34" charset="0"/>
                  <a:cs typeface="Arial" pitchFamily="34" charset="0"/>
                </a:rPr>
                <a:t>Agencies</a:t>
              </a:r>
            </a:p>
          </p:txBody>
        </p:sp>
        <p:pic>
          <p:nvPicPr>
            <p:cNvPr id="51" name="Picture 50" descr="government 1.png"/>
            <p:cNvPicPr>
              <a:picLocks noChangeAspect="1"/>
            </p:cNvPicPr>
            <p:nvPr/>
          </p:nvPicPr>
          <p:blipFill>
            <a:blip r:embed="rId10" cstate="print"/>
            <a:stretch>
              <a:fillRect/>
            </a:stretch>
          </p:blipFill>
          <p:spPr>
            <a:xfrm>
              <a:off x="7501962" y="3599923"/>
              <a:ext cx="675017" cy="675017"/>
            </a:xfrm>
            <a:prstGeom prst="rect">
              <a:avLst/>
            </a:prstGeom>
          </p:spPr>
        </p:pic>
        <p:pic>
          <p:nvPicPr>
            <p:cNvPr id="52" name="Picture 51" descr="0 - Book.png"/>
            <p:cNvPicPr>
              <a:picLocks noChangeAspect="1"/>
            </p:cNvPicPr>
            <p:nvPr/>
          </p:nvPicPr>
          <p:blipFill>
            <a:blip r:embed="rId8" cstate="print"/>
            <a:stretch>
              <a:fillRect/>
            </a:stretch>
          </p:blipFill>
          <p:spPr>
            <a:xfrm>
              <a:off x="8155793" y="3445573"/>
              <a:ext cx="445543" cy="445543"/>
            </a:xfrm>
            <a:prstGeom prst="rect">
              <a:avLst/>
            </a:prstGeom>
          </p:spPr>
        </p:pic>
        <p:sp>
          <p:nvSpPr>
            <p:cNvPr id="53" name="TextBox 52"/>
            <p:cNvSpPr txBox="1"/>
            <p:nvPr/>
          </p:nvSpPr>
          <p:spPr>
            <a:xfrm>
              <a:off x="7357832" y="2034016"/>
              <a:ext cx="1020732" cy="448665"/>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Interstate / Intrastate Agencies</a:t>
              </a:r>
            </a:p>
          </p:txBody>
        </p:sp>
        <p:pic>
          <p:nvPicPr>
            <p:cNvPr id="54" name="Picture 53" descr="USA Map.png"/>
            <p:cNvPicPr>
              <a:picLocks noChangeAspect="1"/>
            </p:cNvPicPr>
            <p:nvPr/>
          </p:nvPicPr>
          <p:blipFill>
            <a:blip r:embed="rId5" cstate="print"/>
            <a:stretch>
              <a:fillRect/>
            </a:stretch>
          </p:blipFill>
          <p:spPr>
            <a:xfrm>
              <a:off x="7487134" y="1494596"/>
              <a:ext cx="769926" cy="769926"/>
            </a:xfrm>
            <a:prstGeom prst="rect">
              <a:avLst/>
            </a:prstGeom>
          </p:spPr>
        </p:pic>
        <p:pic>
          <p:nvPicPr>
            <p:cNvPr id="55" name="Picture 54" descr="0 - Book.png"/>
            <p:cNvPicPr>
              <a:picLocks noChangeAspect="1"/>
            </p:cNvPicPr>
            <p:nvPr/>
          </p:nvPicPr>
          <p:blipFill>
            <a:blip r:embed="rId8" cstate="print"/>
            <a:stretch>
              <a:fillRect/>
            </a:stretch>
          </p:blipFill>
          <p:spPr>
            <a:xfrm>
              <a:off x="8155793" y="1298151"/>
              <a:ext cx="445543" cy="445543"/>
            </a:xfrm>
            <a:prstGeom prst="rect">
              <a:avLst/>
            </a:prstGeom>
          </p:spPr>
        </p:pic>
        <p:pic>
          <p:nvPicPr>
            <p:cNvPr id="64" name="Picture 63" descr="Globe Map.png"/>
            <p:cNvPicPr>
              <a:picLocks noChangeAspect="1"/>
            </p:cNvPicPr>
            <p:nvPr/>
          </p:nvPicPr>
          <p:blipFill>
            <a:blip r:embed="rId6" cstate="print"/>
            <a:stretch>
              <a:fillRect/>
            </a:stretch>
          </p:blipFill>
          <p:spPr>
            <a:xfrm>
              <a:off x="7412795" y="6566500"/>
              <a:ext cx="844265" cy="844265"/>
            </a:xfrm>
            <a:prstGeom prst="rect">
              <a:avLst/>
            </a:prstGeom>
          </p:spPr>
        </p:pic>
        <p:sp>
          <p:nvSpPr>
            <p:cNvPr id="65" name="Rounded Rectangle 64"/>
            <p:cNvSpPr/>
            <p:nvPr/>
          </p:nvSpPr>
          <p:spPr>
            <a:xfrm>
              <a:off x="4310629" y="5298142"/>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66" name="Picture 65" descr="airplane.png"/>
            <p:cNvPicPr>
              <a:picLocks noChangeAspect="1"/>
            </p:cNvPicPr>
            <p:nvPr/>
          </p:nvPicPr>
          <p:blipFill>
            <a:blip r:embed="rId11" cstate="print"/>
            <a:stretch>
              <a:fillRect/>
            </a:stretch>
          </p:blipFill>
          <p:spPr>
            <a:xfrm>
              <a:off x="4430938" y="5245727"/>
              <a:ext cx="737591" cy="737591"/>
            </a:xfrm>
            <a:prstGeom prst="rect">
              <a:avLst/>
            </a:prstGeom>
          </p:spPr>
        </p:pic>
        <p:pic>
          <p:nvPicPr>
            <p:cNvPr id="67" name="Picture 66" descr="0 - Book.png"/>
            <p:cNvPicPr>
              <a:picLocks noChangeAspect="1"/>
            </p:cNvPicPr>
            <p:nvPr/>
          </p:nvPicPr>
          <p:blipFill>
            <a:blip r:embed="rId8" cstate="print"/>
            <a:stretch>
              <a:fillRect/>
            </a:stretch>
          </p:blipFill>
          <p:spPr>
            <a:xfrm>
              <a:off x="2743137" y="5114856"/>
              <a:ext cx="445543" cy="445543"/>
            </a:xfrm>
            <a:prstGeom prst="rect">
              <a:avLst/>
            </a:prstGeom>
          </p:spPr>
        </p:pic>
        <p:sp>
          <p:nvSpPr>
            <p:cNvPr id="68" name="TextBox 67"/>
            <p:cNvSpPr txBox="1"/>
            <p:nvPr/>
          </p:nvSpPr>
          <p:spPr>
            <a:xfrm>
              <a:off x="526795" y="1993006"/>
              <a:ext cx="630345"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Drilling</a:t>
              </a:r>
            </a:p>
          </p:txBody>
        </p:sp>
        <p:sp>
          <p:nvSpPr>
            <p:cNvPr id="69" name="Rounded Rectangle 68"/>
            <p:cNvSpPr/>
            <p:nvPr/>
          </p:nvSpPr>
          <p:spPr>
            <a:xfrm>
              <a:off x="320921" y="137209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70" name="TextBox 69"/>
            <p:cNvSpPr txBox="1"/>
            <p:nvPr/>
          </p:nvSpPr>
          <p:spPr>
            <a:xfrm>
              <a:off x="3172797" y="1993006"/>
              <a:ext cx="618153"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Mining</a:t>
              </a:r>
            </a:p>
          </p:txBody>
        </p:sp>
        <p:sp>
          <p:nvSpPr>
            <p:cNvPr id="71" name="Rounded Rectangle 70"/>
            <p:cNvSpPr/>
            <p:nvPr/>
          </p:nvSpPr>
          <p:spPr>
            <a:xfrm>
              <a:off x="2980726" y="137209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72" name="Picture 71" descr="0 - Book.png"/>
            <p:cNvPicPr>
              <a:picLocks noChangeAspect="1"/>
            </p:cNvPicPr>
            <p:nvPr/>
          </p:nvPicPr>
          <p:blipFill>
            <a:blip r:embed="rId8" cstate="print"/>
            <a:stretch>
              <a:fillRect/>
            </a:stretch>
          </p:blipFill>
          <p:spPr>
            <a:xfrm>
              <a:off x="5404981" y="5114856"/>
              <a:ext cx="445543" cy="445543"/>
            </a:xfrm>
            <a:prstGeom prst="rect">
              <a:avLst/>
            </a:prstGeom>
          </p:spPr>
        </p:pic>
        <p:cxnSp>
          <p:nvCxnSpPr>
            <p:cNvPr id="73" name="Elbow Connector 72"/>
            <p:cNvCxnSpPr>
              <a:stCxn id="93" idx="2"/>
              <a:endCxn id="118" idx="0"/>
            </p:cNvCxnSpPr>
            <p:nvPr/>
          </p:nvCxnSpPr>
          <p:spPr>
            <a:xfrm rot="5400000">
              <a:off x="1697130" y="3474607"/>
              <a:ext cx="971168" cy="2675899"/>
            </a:xfrm>
            <a:prstGeom prst="bentConnector3">
              <a:avLst>
                <a:gd name="adj1" fmla="val 50000"/>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37" idx="3"/>
              <a:endCxn id="41" idx="1"/>
            </p:cNvCxnSpPr>
            <p:nvPr/>
          </p:nvCxnSpPr>
          <p:spPr>
            <a:xfrm>
              <a:off x="2698506" y="5714227"/>
              <a:ext cx="282220"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3"/>
              <a:endCxn id="39" idx="1"/>
            </p:cNvCxnSpPr>
            <p:nvPr/>
          </p:nvCxnSpPr>
          <p:spPr>
            <a:xfrm>
              <a:off x="5358311" y="5714227"/>
              <a:ext cx="282218"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5" idx="1"/>
              <a:endCxn id="41" idx="3"/>
            </p:cNvCxnSpPr>
            <p:nvPr/>
          </p:nvCxnSpPr>
          <p:spPr>
            <a:xfrm flipH="1">
              <a:off x="4028409" y="5714227"/>
              <a:ext cx="282220" cy="0"/>
            </a:xfrm>
            <a:prstGeom prst="straightConnector1">
              <a:avLst/>
            </a:prstGeom>
            <a:ln>
              <a:solidFill>
                <a:schemeClr val="bg1">
                  <a:lumMod val="65000"/>
                </a:schemeClr>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80" name="Picture 79" descr="Report 3.png"/>
            <p:cNvPicPr>
              <a:picLocks noChangeAspect="1"/>
            </p:cNvPicPr>
            <p:nvPr/>
          </p:nvPicPr>
          <p:blipFill>
            <a:blip r:embed="rId22" cstate="print"/>
            <a:stretch>
              <a:fillRect/>
            </a:stretch>
          </p:blipFill>
          <p:spPr>
            <a:xfrm>
              <a:off x="3083841" y="4597285"/>
              <a:ext cx="405565" cy="405565"/>
            </a:xfrm>
            <a:prstGeom prst="rect">
              <a:avLst/>
            </a:prstGeom>
          </p:spPr>
        </p:pic>
        <p:sp>
          <p:nvSpPr>
            <p:cNvPr id="81" name="TextBox 80"/>
            <p:cNvSpPr txBox="1"/>
            <p:nvPr/>
          </p:nvSpPr>
          <p:spPr>
            <a:xfrm>
              <a:off x="3384611" y="4427331"/>
              <a:ext cx="1853743" cy="828451"/>
            </a:xfrm>
            <a:prstGeom prst="rect">
              <a:avLst/>
            </a:prstGeom>
            <a:noFill/>
          </p:spPr>
          <p:txBody>
            <a:bodyPr wrap="square" rtlCol="0">
              <a:spAutoFit/>
            </a:bodyPr>
            <a:lstStyle/>
            <a:p>
              <a:pPr algn="ctr">
                <a:lnSpc>
                  <a:spcPts val="900"/>
                </a:lnSpc>
              </a:pPr>
              <a:r>
                <a:rPr lang="en-US" sz="800" dirty="0">
                  <a:solidFill>
                    <a:srgbClr val="0070C0"/>
                  </a:solidFill>
                  <a:latin typeface="Arial" pitchFamily="34" charset="0"/>
                  <a:cs typeface="Arial" pitchFamily="34" charset="0"/>
                </a:rPr>
                <a:t>Paperwork/Documentation</a:t>
              </a:r>
            </a:p>
            <a:p>
              <a:pPr algn="ctr">
                <a:lnSpc>
                  <a:spcPts val="900"/>
                </a:lnSpc>
              </a:pPr>
              <a:r>
                <a:rPr lang="en-US" sz="800" dirty="0">
                  <a:solidFill>
                    <a:srgbClr val="0070C0"/>
                  </a:solidFill>
                  <a:latin typeface="Arial" pitchFamily="34" charset="0"/>
                  <a:cs typeface="Arial" pitchFamily="34" charset="0"/>
                </a:rPr>
                <a:t>(Contracts, Assays, Inspection, Quality Check, Certification, Filings, Bill of Lading, Customs, etc.)</a:t>
              </a:r>
            </a:p>
          </p:txBody>
        </p:sp>
        <p:pic>
          <p:nvPicPr>
            <p:cNvPr id="82" name="Picture 81" descr="Mining 2.png"/>
            <p:cNvPicPr>
              <a:picLocks noChangeAspect="1"/>
            </p:cNvPicPr>
            <p:nvPr/>
          </p:nvPicPr>
          <p:blipFill>
            <a:blip r:embed="rId23" cstate="print"/>
            <a:stretch>
              <a:fillRect/>
            </a:stretch>
          </p:blipFill>
          <p:spPr>
            <a:xfrm>
              <a:off x="3234372" y="1470847"/>
              <a:ext cx="473305" cy="473305"/>
            </a:xfrm>
            <a:prstGeom prst="rect">
              <a:avLst/>
            </a:prstGeom>
          </p:spPr>
        </p:pic>
        <p:sp>
          <p:nvSpPr>
            <p:cNvPr id="83" name="TextBox 82"/>
            <p:cNvSpPr txBox="1"/>
            <p:nvPr/>
          </p:nvSpPr>
          <p:spPr>
            <a:xfrm>
              <a:off x="457518" y="3134872"/>
              <a:ext cx="733981"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Trucking</a:t>
              </a:r>
            </a:p>
          </p:txBody>
        </p:sp>
        <p:sp>
          <p:nvSpPr>
            <p:cNvPr id="84" name="Rounded Rectangle 83"/>
            <p:cNvSpPr/>
            <p:nvPr/>
          </p:nvSpPr>
          <p:spPr>
            <a:xfrm>
              <a:off x="320921" y="251225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85" name="Picture 84" descr="truck 5.png"/>
            <p:cNvPicPr>
              <a:picLocks noChangeAspect="1"/>
            </p:cNvPicPr>
            <p:nvPr/>
          </p:nvPicPr>
          <p:blipFill>
            <a:blip r:embed="rId24" cstate="print"/>
            <a:stretch>
              <a:fillRect/>
            </a:stretch>
          </p:blipFill>
          <p:spPr>
            <a:xfrm>
              <a:off x="462476" y="2371922"/>
              <a:ext cx="794633" cy="794633"/>
            </a:xfrm>
            <a:prstGeom prst="rect">
              <a:avLst/>
            </a:prstGeom>
          </p:spPr>
        </p:pic>
        <p:pic>
          <p:nvPicPr>
            <p:cNvPr id="86" name="Picture 85" descr="truck 4.png"/>
            <p:cNvPicPr>
              <a:picLocks noChangeAspect="1"/>
            </p:cNvPicPr>
            <p:nvPr/>
          </p:nvPicPr>
          <p:blipFill>
            <a:blip r:embed="rId12" cstate="print"/>
            <a:stretch>
              <a:fillRect/>
            </a:stretch>
          </p:blipFill>
          <p:spPr>
            <a:xfrm flipH="1">
              <a:off x="1720823" y="5188708"/>
              <a:ext cx="929184" cy="929184"/>
            </a:xfrm>
            <a:prstGeom prst="rect">
              <a:avLst/>
            </a:prstGeom>
          </p:spPr>
        </p:pic>
        <p:pic>
          <p:nvPicPr>
            <p:cNvPr id="87" name="Picture 86" descr="Helicoptor.png"/>
            <p:cNvPicPr>
              <a:picLocks noChangeAspect="1"/>
            </p:cNvPicPr>
            <p:nvPr/>
          </p:nvPicPr>
          <p:blipFill>
            <a:blip r:embed="rId13" cstate="print"/>
            <a:stretch>
              <a:fillRect/>
            </a:stretch>
          </p:blipFill>
          <p:spPr>
            <a:xfrm>
              <a:off x="3149471" y="5276392"/>
              <a:ext cx="770526" cy="770526"/>
            </a:xfrm>
            <a:prstGeom prst="rect">
              <a:avLst/>
            </a:prstGeom>
          </p:spPr>
        </p:pic>
        <p:pic>
          <p:nvPicPr>
            <p:cNvPr id="88" name="Picture 87" descr="truck 4.png"/>
            <p:cNvPicPr>
              <a:picLocks noChangeAspect="1"/>
            </p:cNvPicPr>
            <p:nvPr/>
          </p:nvPicPr>
          <p:blipFill>
            <a:blip r:embed="rId12" cstate="print"/>
            <a:stretch>
              <a:fillRect/>
            </a:stretch>
          </p:blipFill>
          <p:spPr>
            <a:xfrm flipH="1">
              <a:off x="5686436" y="5092085"/>
              <a:ext cx="929184" cy="929184"/>
            </a:xfrm>
            <a:prstGeom prst="rect">
              <a:avLst/>
            </a:prstGeom>
          </p:spPr>
        </p:pic>
        <p:pic>
          <p:nvPicPr>
            <p:cNvPr id="89" name="Picture 88" descr="manufacter 4.png"/>
            <p:cNvPicPr>
              <a:picLocks noChangeAspect="1"/>
            </p:cNvPicPr>
            <p:nvPr/>
          </p:nvPicPr>
          <p:blipFill>
            <a:blip r:embed="rId25" cstate="print"/>
            <a:stretch>
              <a:fillRect/>
            </a:stretch>
          </p:blipFill>
          <p:spPr>
            <a:xfrm>
              <a:off x="1943690" y="2538799"/>
              <a:ext cx="530940" cy="530940"/>
            </a:xfrm>
            <a:prstGeom prst="rect">
              <a:avLst/>
            </a:prstGeom>
          </p:spPr>
        </p:pic>
        <p:sp>
          <p:nvSpPr>
            <p:cNvPr id="90" name="Rounded Rectangle 89"/>
            <p:cNvSpPr/>
            <p:nvPr/>
          </p:nvSpPr>
          <p:spPr>
            <a:xfrm>
              <a:off x="118299" y="1199126"/>
              <a:ext cx="5732226" cy="321921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91" name="TextBox 90"/>
            <p:cNvSpPr txBox="1"/>
            <p:nvPr/>
          </p:nvSpPr>
          <p:spPr>
            <a:xfrm>
              <a:off x="1582123" y="3047416"/>
              <a:ext cx="1227737" cy="368200"/>
            </a:xfrm>
            <a:prstGeom prst="rect">
              <a:avLst/>
            </a:prstGeom>
            <a:noFill/>
          </p:spPr>
          <p:txBody>
            <a:bodyPr wrap="square" rtlCol="0">
              <a:spAutoFit/>
            </a:bodyPr>
            <a:lstStyle/>
            <a:p>
              <a:pPr algn="ctr">
                <a:lnSpc>
                  <a:spcPts val="800"/>
                </a:lnSpc>
              </a:pPr>
              <a:r>
                <a:rPr lang="en-US" sz="800" dirty="0">
                  <a:solidFill>
                    <a:srgbClr val="0070C0"/>
                  </a:solidFill>
                  <a:latin typeface="Arial" pitchFamily="34" charset="0"/>
                  <a:cs typeface="Arial" pitchFamily="34" charset="0"/>
                </a:rPr>
                <a:t>Processing / Refining</a:t>
              </a:r>
            </a:p>
          </p:txBody>
        </p:sp>
        <p:sp>
          <p:nvSpPr>
            <p:cNvPr id="92" name="TextBox 91"/>
            <p:cNvSpPr txBox="1"/>
            <p:nvPr/>
          </p:nvSpPr>
          <p:spPr>
            <a:xfrm>
              <a:off x="676355" y="3610404"/>
              <a:ext cx="1940212" cy="571346"/>
            </a:xfrm>
            <a:prstGeom prst="rect">
              <a:avLst/>
            </a:prstGeom>
            <a:noFill/>
          </p:spPr>
          <p:txBody>
            <a:bodyPr wrap="square" rtlCol="0">
              <a:spAutoFit/>
            </a:bodyPr>
            <a:lstStyle/>
            <a:p>
              <a:pPr algn="ctr"/>
              <a:r>
                <a:rPr lang="en-US" sz="1200" b="1" dirty="0">
                  <a:solidFill>
                    <a:srgbClr val="0070C0"/>
                  </a:solidFill>
                  <a:latin typeface="Arial" pitchFamily="34" charset="0"/>
                  <a:cs typeface="Arial" pitchFamily="34" charset="0"/>
                </a:rPr>
                <a:t>Simplified Gold Mining Operations</a:t>
              </a:r>
            </a:p>
          </p:txBody>
        </p:sp>
        <p:sp>
          <p:nvSpPr>
            <p:cNvPr id="93" name="Rounded Rectangle 92"/>
            <p:cNvSpPr/>
            <p:nvPr/>
          </p:nvSpPr>
          <p:spPr>
            <a:xfrm>
              <a:off x="2996821" y="349480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94" name="Picture 93" descr="Gold bullion.png"/>
            <p:cNvPicPr>
              <a:picLocks noChangeAspect="1"/>
            </p:cNvPicPr>
            <p:nvPr/>
          </p:nvPicPr>
          <p:blipFill>
            <a:blip r:embed="rId26" cstate="print"/>
            <a:stretch>
              <a:fillRect/>
            </a:stretch>
          </p:blipFill>
          <p:spPr>
            <a:xfrm>
              <a:off x="3056522" y="3315871"/>
              <a:ext cx="978138" cy="978138"/>
            </a:xfrm>
            <a:prstGeom prst="rect">
              <a:avLst/>
            </a:prstGeom>
          </p:spPr>
        </p:pic>
        <p:pic>
          <p:nvPicPr>
            <p:cNvPr id="95" name="Picture 94" descr="waste.png"/>
            <p:cNvPicPr>
              <a:picLocks noChangeAspect="1"/>
            </p:cNvPicPr>
            <p:nvPr/>
          </p:nvPicPr>
          <p:blipFill>
            <a:blip r:embed="rId27" cstate="print"/>
            <a:stretch>
              <a:fillRect/>
            </a:stretch>
          </p:blipFill>
          <p:spPr>
            <a:xfrm>
              <a:off x="3117651" y="2397184"/>
              <a:ext cx="850566" cy="850566"/>
            </a:xfrm>
            <a:prstGeom prst="rect">
              <a:avLst/>
            </a:prstGeom>
          </p:spPr>
        </p:pic>
        <p:cxnSp>
          <p:nvCxnSpPr>
            <p:cNvPr id="96" name="Straight Arrow Connector 95"/>
            <p:cNvCxnSpPr>
              <a:stCxn id="109" idx="3"/>
              <a:endCxn id="71" idx="1"/>
            </p:cNvCxnSpPr>
            <p:nvPr/>
          </p:nvCxnSpPr>
          <p:spPr>
            <a:xfrm>
              <a:off x="2698506" y="1788179"/>
              <a:ext cx="282220"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71" idx="3"/>
              <a:endCxn id="107" idx="1"/>
            </p:cNvCxnSpPr>
            <p:nvPr/>
          </p:nvCxnSpPr>
          <p:spPr>
            <a:xfrm>
              <a:off x="4028409" y="1788179"/>
              <a:ext cx="282220"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69" idx="3"/>
              <a:endCxn id="109" idx="1"/>
            </p:cNvCxnSpPr>
            <p:nvPr/>
          </p:nvCxnSpPr>
          <p:spPr>
            <a:xfrm>
              <a:off x="1368604" y="1788179"/>
              <a:ext cx="282220"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9" name="Picture 98" descr="Security officer.png"/>
            <p:cNvPicPr>
              <a:picLocks noChangeAspect="1"/>
            </p:cNvPicPr>
            <p:nvPr/>
          </p:nvPicPr>
          <p:blipFill>
            <a:blip r:embed="rId14" cstate="print"/>
            <a:stretch>
              <a:fillRect/>
            </a:stretch>
          </p:blipFill>
          <p:spPr>
            <a:xfrm>
              <a:off x="609476" y="5368047"/>
              <a:ext cx="539200" cy="539200"/>
            </a:xfrm>
            <a:prstGeom prst="rect">
              <a:avLst/>
            </a:prstGeom>
          </p:spPr>
        </p:pic>
        <p:sp>
          <p:nvSpPr>
            <p:cNvPr id="101" name="Rounded Rectangle 100"/>
            <p:cNvSpPr/>
            <p:nvPr/>
          </p:nvSpPr>
          <p:spPr>
            <a:xfrm>
              <a:off x="4326723" y="251225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cxnSp>
          <p:nvCxnSpPr>
            <p:cNvPr id="102" name="Straight Arrow Connector 101"/>
            <p:cNvCxnSpPr>
              <a:stCxn id="113" idx="3"/>
              <a:endCxn id="101" idx="1"/>
            </p:cNvCxnSpPr>
            <p:nvPr/>
          </p:nvCxnSpPr>
          <p:spPr>
            <a:xfrm>
              <a:off x="4044503" y="2928335"/>
              <a:ext cx="282220"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4443971" y="3130372"/>
              <a:ext cx="807135"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Disposing</a:t>
              </a:r>
            </a:p>
          </p:txBody>
        </p:sp>
        <p:pic>
          <p:nvPicPr>
            <p:cNvPr id="104" name="Picture 103" descr="hazardous.png"/>
            <p:cNvPicPr>
              <a:picLocks noChangeAspect="1"/>
            </p:cNvPicPr>
            <p:nvPr/>
          </p:nvPicPr>
          <p:blipFill>
            <a:blip r:embed="rId28" cstate="print"/>
            <a:stretch>
              <a:fillRect/>
            </a:stretch>
          </p:blipFill>
          <p:spPr>
            <a:xfrm>
              <a:off x="4560434" y="2570057"/>
              <a:ext cx="550271" cy="550271"/>
            </a:xfrm>
            <a:prstGeom prst="rect">
              <a:avLst/>
            </a:prstGeom>
          </p:spPr>
        </p:pic>
        <p:cxnSp>
          <p:nvCxnSpPr>
            <p:cNvPr id="105" name="Straight Arrow Connector 104"/>
            <p:cNvCxnSpPr>
              <a:stCxn id="118" idx="3"/>
              <a:endCxn id="37" idx="1"/>
            </p:cNvCxnSpPr>
            <p:nvPr/>
          </p:nvCxnSpPr>
          <p:spPr>
            <a:xfrm>
              <a:off x="1368604" y="5714227"/>
              <a:ext cx="282220"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4461640" y="1993006"/>
              <a:ext cx="719756"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Mucking</a:t>
              </a:r>
            </a:p>
          </p:txBody>
        </p:sp>
        <p:sp>
          <p:nvSpPr>
            <p:cNvPr id="107" name="Rounded Rectangle 106"/>
            <p:cNvSpPr/>
            <p:nvPr/>
          </p:nvSpPr>
          <p:spPr>
            <a:xfrm>
              <a:off x="4310629" y="137209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pic>
          <p:nvPicPr>
            <p:cNvPr id="108" name="Picture 107" descr="explosive.png"/>
            <p:cNvPicPr>
              <a:picLocks noChangeAspect="1"/>
            </p:cNvPicPr>
            <p:nvPr/>
          </p:nvPicPr>
          <p:blipFill>
            <a:blip r:embed="rId29" cstate="print"/>
            <a:stretch>
              <a:fillRect/>
            </a:stretch>
          </p:blipFill>
          <p:spPr>
            <a:xfrm>
              <a:off x="1838767" y="1322376"/>
              <a:ext cx="706896" cy="706896"/>
            </a:xfrm>
            <a:prstGeom prst="rect">
              <a:avLst/>
            </a:prstGeom>
          </p:spPr>
        </p:pic>
        <p:sp>
          <p:nvSpPr>
            <p:cNvPr id="109" name="Rounded Rectangle 108"/>
            <p:cNvSpPr/>
            <p:nvPr/>
          </p:nvSpPr>
          <p:spPr>
            <a:xfrm>
              <a:off x="1650824" y="137209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110" name="TextBox 109"/>
            <p:cNvSpPr txBox="1"/>
            <p:nvPr/>
          </p:nvSpPr>
          <p:spPr>
            <a:xfrm>
              <a:off x="1820649" y="1993006"/>
              <a:ext cx="699435"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Blasting</a:t>
              </a:r>
            </a:p>
          </p:txBody>
        </p:sp>
        <p:cxnSp>
          <p:nvCxnSpPr>
            <p:cNvPr id="111" name="Elbow Connector 110"/>
            <p:cNvCxnSpPr>
              <a:stCxn id="107" idx="2"/>
              <a:endCxn id="84" idx="0"/>
            </p:cNvCxnSpPr>
            <p:nvPr/>
          </p:nvCxnSpPr>
          <p:spPr>
            <a:xfrm rot="5400000">
              <a:off x="2685625" y="363402"/>
              <a:ext cx="307986" cy="3989707"/>
            </a:xfrm>
            <a:prstGeom prst="bentConnector3">
              <a:avLst>
                <a:gd name="adj1" fmla="val 50000"/>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3125813" y="4107177"/>
              <a:ext cx="829487"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Dore Gold</a:t>
              </a:r>
            </a:p>
          </p:txBody>
        </p:sp>
        <p:sp>
          <p:nvSpPr>
            <p:cNvPr id="113" name="Rounded Rectangle 112"/>
            <p:cNvSpPr/>
            <p:nvPr/>
          </p:nvSpPr>
          <p:spPr>
            <a:xfrm>
              <a:off x="2996821" y="251225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cxnSp>
          <p:nvCxnSpPr>
            <p:cNvPr id="114" name="Straight Arrow Connector 113"/>
            <p:cNvCxnSpPr>
              <a:stCxn id="117" idx="3"/>
              <a:endCxn id="113" idx="1"/>
            </p:cNvCxnSpPr>
            <p:nvPr/>
          </p:nvCxnSpPr>
          <p:spPr>
            <a:xfrm>
              <a:off x="2714601" y="2928335"/>
              <a:ext cx="282220"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3237266" y="3130372"/>
              <a:ext cx="603927"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Waste</a:t>
              </a:r>
            </a:p>
          </p:txBody>
        </p:sp>
        <p:cxnSp>
          <p:nvCxnSpPr>
            <p:cNvPr id="116" name="Elbow Connector 115"/>
            <p:cNvCxnSpPr>
              <a:stCxn id="117" idx="3"/>
              <a:endCxn id="93" idx="1"/>
            </p:cNvCxnSpPr>
            <p:nvPr/>
          </p:nvCxnSpPr>
          <p:spPr>
            <a:xfrm>
              <a:off x="2714601" y="2928335"/>
              <a:ext cx="282220" cy="982554"/>
            </a:xfrm>
            <a:prstGeom prst="bentConnector3">
              <a:avLst>
                <a:gd name="adj1" fmla="val 50000"/>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7" name="Rounded Rectangle 116"/>
            <p:cNvSpPr/>
            <p:nvPr/>
          </p:nvSpPr>
          <p:spPr>
            <a:xfrm>
              <a:off x="1666918" y="251225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118" name="Rounded Rectangle 117"/>
            <p:cNvSpPr/>
            <p:nvPr/>
          </p:nvSpPr>
          <p:spPr>
            <a:xfrm>
              <a:off x="320921" y="5298142"/>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19" name="TextBox 118"/>
            <p:cNvSpPr txBox="1"/>
            <p:nvPr/>
          </p:nvSpPr>
          <p:spPr>
            <a:xfrm>
              <a:off x="1702478" y="5860533"/>
              <a:ext cx="931090" cy="337570"/>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Trucking</a:t>
              </a:r>
            </a:p>
            <a:p>
              <a:pPr algn="ctr">
                <a:lnSpc>
                  <a:spcPts val="700"/>
                </a:lnSpc>
              </a:pPr>
              <a:r>
                <a:rPr lang="en-US" sz="800" dirty="0">
                  <a:solidFill>
                    <a:srgbClr val="0070C0"/>
                  </a:solidFill>
                  <a:latin typeface="Arial" pitchFamily="34" charset="0"/>
                  <a:cs typeface="Arial" pitchFamily="34" charset="0"/>
                </a:rPr>
                <a:t> Companies</a:t>
              </a:r>
            </a:p>
          </p:txBody>
        </p:sp>
        <p:sp>
          <p:nvSpPr>
            <p:cNvPr id="120" name="TextBox 119"/>
            <p:cNvSpPr txBox="1"/>
            <p:nvPr/>
          </p:nvSpPr>
          <p:spPr>
            <a:xfrm>
              <a:off x="5721872" y="5787459"/>
              <a:ext cx="894513" cy="337570"/>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Trucking </a:t>
              </a:r>
            </a:p>
            <a:p>
              <a:pPr algn="ctr">
                <a:lnSpc>
                  <a:spcPts val="700"/>
                </a:lnSpc>
              </a:pPr>
              <a:r>
                <a:rPr lang="en-US" sz="800" dirty="0">
                  <a:solidFill>
                    <a:srgbClr val="0070C0"/>
                  </a:solidFill>
                  <a:latin typeface="Arial" pitchFamily="34" charset="0"/>
                  <a:cs typeface="Arial" pitchFamily="34" charset="0"/>
                </a:rPr>
                <a:t>Companies</a:t>
              </a:r>
            </a:p>
          </p:txBody>
        </p:sp>
        <p:sp>
          <p:nvSpPr>
            <p:cNvPr id="121" name="TextBox 120"/>
            <p:cNvSpPr txBox="1"/>
            <p:nvPr/>
          </p:nvSpPr>
          <p:spPr>
            <a:xfrm>
              <a:off x="4328378" y="5860533"/>
              <a:ext cx="1050917" cy="337570"/>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Airplane Companies</a:t>
              </a:r>
            </a:p>
          </p:txBody>
        </p:sp>
        <p:sp>
          <p:nvSpPr>
            <p:cNvPr id="122" name="TextBox 121"/>
            <p:cNvSpPr txBox="1"/>
            <p:nvPr/>
          </p:nvSpPr>
          <p:spPr>
            <a:xfrm>
              <a:off x="3040634" y="5860533"/>
              <a:ext cx="931090" cy="337570"/>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Helicopter</a:t>
              </a:r>
            </a:p>
            <a:p>
              <a:pPr algn="ctr">
                <a:lnSpc>
                  <a:spcPts val="700"/>
                </a:lnSpc>
              </a:pPr>
              <a:r>
                <a:rPr lang="en-US" sz="800" dirty="0">
                  <a:solidFill>
                    <a:srgbClr val="0070C0"/>
                  </a:solidFill>
                  <a:latin typeface="Arial" pitchFamily="34" charset="0"/>
                  <a:cs typeface="Arial" pitchFamily="34" charset="0"/>
                </a:rPr>
                <a:t> Companies</a:t>
              </a:r>
            </a:p>
          </p:txBody>
        </p:sp>
        <p:sp>
          <p:nvSpPr>
            <p:cNvPr id="123" name="TextBox 122"/>
            <p:cNvSpPr txBox="1"/>
            <p:nvPr/>
          </p:nvSpPr>
          <p:spPr>
            <a:xfrm>
              <a:off x="384140" y="5860533"/>
              <a:ext cx="931090" cy="337570"/>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Security</a:t>
              </a:r>
            </a:p>
            <a:p>
              <a:pPr algn="ctr">
                <a:lnSpc>
                  <a:spcPts val="700"/>
                </a:lnSpc>
              </a:pPr>
              <a:r>
                <a:rPr lang="en-US" sz="800" dirty="0">
                  <a:solidFill>
                    <a:srgbClr val="0070C0"/>
                  </a:solidFill>
                  <a:latin typeface="Arial" pitchFamily="34" charset="0"/>
                  <a:cs typeface="Arial" pitchFamily="34" charset="0"/>
                </a:rPr>
                <a:t> Companies</a:t>
              </a:r>
            </a:p>
          </p:txBody>
        </p:sp>
        <p:sp>
          <p:nvSpPr>
            <p:cNvPr id="124" name="Rounded Rectangle 123"/>
            <p:cNvSpPr/>
            <p:nvPr/>
          </p:nvSpPr>
          <p:spPr>
            <a:xfrm>
              <a:off x="1652840"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125" name="Picture 124" descr="0 - Book.png"/>
            <p:cNvPicPr>
              <a:picLocks noChangeAspect="1"/>
            </p:cNvPicPr>
            <p:nvPr/>
          </p:nvPicPr>
          <p:blipFill>
            <a:blip r:embed="rId8" cstate="print"/>
            <a:stretch>
              <a:fillRect/>
            </a:stretch>
          </p:blipFill>
          <p:spPr>
            <a:xfrm>
              <a:off x="1160239" y="6515554"/>
              <a:ext cx="445543" cy="445543"/>
            </a:xfrm>
            <a:prstGeom prst="rect">
              <a:avLst/>
            </a:prstGeom>
          </p:spPr>
        </p:pic>
        <p:sp>
          <p:nvSpPr>
            <p:cNvPr id="126" name="Rounded Rectangle 125"/>
            <p:cNvSpPr/>
            <p:nvPr/>
          </p:nvSpPr>
          <p:spPr>
            <a:xfrm>
              <a:off x="5642546"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127" name="Picture 126" descr="0 - Book.png"/>
            <p:cNvPicPr>
              <a:picLocks noChangeAspect="1"/>
            </p:cNvPicPr>
            <p:nvPr/>
          </p:nvPicPr>
          <p:blipFill>
            <a:blip r:embed="rId8" cstate="print"/>
            <a:stretch>
              <a:fillRect/>
            </a:stretch>
          </p:blipFill>
          <p:spPr>
            <a:xfrm>
              <a:off x="5134920" y="6515554"/>
              <a:ext cx="445543" cy="445543"/>
            </a:xfrm>
            <a:prstGeom prst="rect">
              <a:avLst/>
            </a:prstGeom>
          </p:spPr>
        </p:pic>
        <p:sp>
          <p:nvSpPr>
            <p:cNvPr id="128" name="Rounded Rectangle 127"/>
            <p:cNvSpPr/>
            <p:nvPr/>
          </p:nvSpPr>
          <p:spPr>
            <a:xfrm>
              <a:off x="2982742"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129" name="Picture 128" descr="0 - Book.png"/>
            <p:cNvPicPr>
              <a:picLocks noChangeAspect="1"/>
            </p:cNvPicPr>
            <p:nvPr/>
          </p:nvPicPr>
          <p:blipFill>
            <a:blip r:embed="rId8" cstate="print"/>
            <a:stretch>
              <a:fillRect/>
            </a:stretch>
          </p:blipFill>
          <p:spPr>
            <a:xfrm>
              <a:off x="2473075" y="6515554"/>
              <a:ext cx="445543" cy="445543"/>
            </a:xfrm>
            <a:prstGeom prst="rect">
              <a:avLst/>
            </a:prstGeom>
          </p:spPr>
        </p:pic>
        <p:sp>
          <p:nvSpPr>
            <p:cNvPr id="130" name="Rounded Rectangle 129"/>
            <p:cNvSpPr/>
            <p:nvPr/>
          </p:nvSpPr>
          <p:spPr>
            <a:xfrm>
              <a:off x="4312645"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131" name="Picture 130" descr="0 - Book.png"/>
            <p:cNvPicPr>
              <a:picLocks noChangeAspect="1"/>
            </p:cNvPicPr>
            <p:nvPr/>
          </p:nvPicPr>
          <p:blipFill>
            <a:blip r:embed="rId8" cstate="print"/>
            <a:stretch>
              <a:fillRect/>
            </a:stretch>
          </p:blipFill>
          <p:spPr>
            <a:xfrm>
              <a:off x="3797969" y="6515554"/>
              <a:ext cx="445543" cy="445543"/>
            </a:xfrm>
            <a:prstGeom prst="rect">
              <a:avLst/>
            </a:prstGeom>
          </p:spPr>
        </p:pic>
        <p:pic>
          <p:nvPicPr>
            <p:cNvPr id="132" name="Picture 131" descr="0 - Book.png"/>
            <p:cNvPicPr>
              <a:picLocks noChangeAspect="1"/>
            </p:cNvPicPr>
            <p:nvPr/>
          </p:nvPicPr>
          <p:blipFill>
            <a:blip r:embed="rId8" cstate="print"/>
            <a:stretch>
              <a:fillRect/>
            </a:stretch>
          </p:blipFill>
          <p:spPr>
            <a:xfrm>
              <a:off x="6459814" y="6515554"/>
              <a:ext cx="445543" cy="445543"/>
            </a:xfrm>
            <a:prstGeom prst="rect">
              <a:avLst/>
            </a:prstGeom>
          </p:spPr>
        </p:pic>
        <p:cxnSp>
          <p:nvCxnSpPr>
            <p:cNvPr id="133" name="Straight Arrow Connector 132"/>
            <p:cNvCxnSpPr>
              <a:stCxn id="124" idx="3"/>
              <a:endCxn id="128" idx="1"/>
            </p:cNvCxnSpPr>
            <p:nvPr/>
          </p:nvCxnSpPr>
          <p:spPr>
            <a:xfrm>
              <a:off x="2700522" y="7114925"/>
              <a:ext cx="282220"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30" idx="3"/>
              <a:endCxn id="126" idx="1"/>
            </p:cNvCxnSpPr>
            <p:nvPr/>
          </p:nvCxnSpPr>
          <p:spPr>
            <a:xfrm>
              <a:off x="5360327" y="7114925"/>
              <a:ext cx="282218"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30" idx="1"/>
              <a:endCxn id="128" idx="3"/>
            </p:cNvCxnSpPr>
            <p:nvPr/>
          </p:nvCxnSpPr>
          <p:spPr>
            <a:xfrm flipH="1">
              <a:off x="4030425" y="7114925"/>
              <a:ext cx="282220" cy="0"/>
            </a:xfrm>
            <a:prstGeom prst="straightConnector1">
              <a:avLst/>
            </a:prstGeom>
            <a:ln>
              <a:solidFill>
                <a:schemeClr val="bg1">
                  <a:lumMod val="65000"/>
                </a:schemeClr>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37" idx="3"/>
              <a:endCxn id="124" idx="1"/>
            </p:cNvCxnSpPr>
            <p:nvPr/>
          </p:nvCxnSpPr>
          <p:spPr>
            <a:xfrm>
              <a:off x="1370620" y="7114925"/>
              <a:ext cx="282220" cy="0"/>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7" name="Rounded Rectangle 136"/>
            <p:cNvSpPr/>
            <p:nvPr/>
          </p:nvSpPr>
          <p:spPr>
            <a:xfrm>
              <a:off x="322937"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38" name="TextBox 137"/>
            <p:cNvSpPr txBox="1"/>
            <p:nvPr/>
          </p:nvSpPr>
          <p:spPr>
            <a:xfrm>
              <a:off x="1512470" y="7357563"/>
              <a:ext cx="1315151" cy="226475"/>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Traders /Exporters</a:t>
              </a:r>
            </a:p>
          </p:txBody>
        </p:sp>
        <p:sp>
          <p:nvSpPr>
            <p:cNvPr id="139" name="TextBox 138"/>
            <p:cNvSpPr txBox="1"/>
            <p:nvPr/>
          </p:nvSpPr>
          <p:spPr>
            <a:xfrm>
              <a:off x="5827455" y="7332906"/>
              <a:ext cx="748205" cy="257105"/>
            </a:xfrm>
            <a:prstGeom prst="rect">
              <a:avLst/>
            </a:prstGeom>
            <a:noFill/>
          </p:spPr>
          <p:txBody>
            <a:bodyPr wrap="none" rtlCol="0">
              <a:spAutoFit/>
            </a:bodyPr>
            <a:lstStyle/>
            <a:p>
              <a:pPr algn="ctr">
                <a:lnSpc>
                  <a:spcPts val="900"/>
                </a:lnSpc>
              </a:pPr>
              <a:r>
                <a:rPr lang="en-US" sz="800" dirty="0">
                  <a:solidFill>
                    <a:srgbClr val="0070C0"/>
                  </a:solidFill>
                  <a:latin typeface="Arial" pitchFamily="34" charset="0"/>
                  <a:cs typeface="Arial" pitchFamily="34" charset="0"/>
                </a:rPr>
                <a:t>Retailers</a:t>
              </a:r>
            </a:p>
          </p:txBody>
        </p:sp>
        <p:sp>
          <p:nvSpPr>
            <p:cNvPr id="140" name="TextBox 139"/>
            <p:cNvSpPr txBox="1"/>
            <p:nvPr/>
          </p:nvSpPr>
          <p:spPr>
            <a:xfrm>
              <a:off x="4330394" y="7357563"/>
              <a:ext cx="1050917" cy="226475"/>
            </a:xfrm>
            <a:prstGeom prst="rect">
              <a:avLst/>
            </a:prstGeom>
            <a:noFill/>
          </p:spPr>
          <p:txBody>
            <a:bodyPr wrap="square" rtlCol="0">
              <a:spAutoFit/>
            </a:bodyPr>
            <a:lstStyle/>
            <a:p>
              <a:pPr algn="ctr">
                <a:lnSpc>
                  <a:spcPts val="700"/>
                </a:lnSpc>
              </a:pPr>
              <a:r>
                <a:rPr lang="en-US" sz="800" dirty="0">
                  <a:solidFill>
                    <a:srgbClr val="0070C0"/>
                  </a:solidFill>
                  <a:latin typeface="Arial" pitchFamily="34" charset="0"/>
                  <a:cs typeface="Arial" pitchFamily="34" charset="0"/>
                </a:rPr>
                <a:t>Wholesalers</a:t>
              </a:r>
            </a:p>
          </p:txBody>
        </p:sp>
        <p:sp>
          <p:nvSpPr>
            <p:cNvPr id="141" name="TextBox 140"/>
            <p:cNvSpPr txBox="1"/>
            <p:nvPr/>
          </p:nvSpPr>
          <p:spPr>
            <a:xfrm>
              <a:off x="3209280" y="7357563"/>
              <a:ext cx="597833" cy="226475"/>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Banks</a:t>
              </a:r>
            </a:p>
          </p:txBody>
        </p:sp>
        <p:sp>
          <p:nvSpPr>
            <p:cNvPr id="142" name="TextBox 141"/>
            <p:cNvSpPr txBox="1"/>
            <p:nvPr/>
          </p:nvSpPr>
          <p:spPr>
            <a:xfrm>
              <a:off x="485990" y="7357563"/>
              <a:ext cx="719756" cy="226475"/>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Refiners</a:t>
              </a:r>
            </a:p>
          </p:txBody>
        </p:sp>
        <p:cxnSp>
          <p:nvCxnSpPr>
            <p:cNvPr id="143" name="Elbow Connector 142"/>
            <p:cNvCxnSpPr>
              <a:stCxn id="39" idx="2"/>
              <a:endCxn id="137" idx="0"/>
            </p:cNvCxnSpPr>
            <p:nvPr/>
          </p:nvCxnSpPr>
          <p:spPr>
            <a:xfrm rot="5400000">
              <a:off x="3221313" y="3755780"/>
              <a:ext cx="568528" cy="5317592"/>
            </a:xfrm>
            <a:prstGeom prst="bentConnector3">
              <a:avLst>
                <a:gd name="adj1" fmla="val 50000"/>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4" name="Picture 143" descr="Report 3.png"/>
            <p:cNvPicPr>
              <a:picLocks noChangeAspect="1"/>
            </p:cNvPicPr>
            <p:nvPr/>
          </p:nvPicPr>
          <p:blipFill>
            <a:blip r:embed="rId22" cstate="print"/>
            <a:stretch>
              <a:fillRect/>
            </a:stretch>
          </p:blipFill>
          <p:spPr>
            <a:xfrm>
              <a:off x="3990769" y="2194401"/>
              <a:ext cx="405565" cy="405565"/>
            </a:xfrm>
            <a:prstGeom prst="rect">
              <a:avLst/>
            </a:prstGeom>
          </p:spPr>
        </p:pic>
        <p:sp>
          <p:nvSpPr>
            <p:cNvPr id="145" name="Rounded Rectangle 144"/>
            <p:cNvSpPr/>
            <p:nvPr/>
          </p:nvSpPr>
          <p:spPr>
            <a:xfrm>
              <a:off x="7330882" y="5670067"/>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46" name="Rounded Rectangle 145"/>
            <p:cNvSpPr/>
            <p:nvPr/>
          </p:nvSpPr>
          <p:spPr>
            <a:xfrm>
              <a:off x="7330882" y="2583747"/>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47" name="Rounded Rectangle 146"/>
            <p:cNvSpPr/>
            <p:nvPr/>
          </p:nvSpPr>
          <p:spPr>
            <a:xfrm>
              <a:off x="7330882" y="1554974"/>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48" name="Rounded Rectangle 147"/>
            <p:cNvSpPr/>
            <p:nvPr/>
          </p:nvSpPr>
          <p:spPr>
            <a:xfrm>
              <a:off x="7330882" y="361252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49" name="Rounded Rectangle 148"/>
            <p:cNvSpPr/>
            <p:nvPr/>
          </p:nvSpPr>
          <p:spPr>
            <a:xfrm>
              <a:off x="7330882" y="4641293"/>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sp>
          <p:nvSpPr>
            <p:cNvPr id="150" name="Rounded Rectangle 149"/>
            <p:cNvSpPr/>
            <p:nvPr/>
          </p:nvSpPr>
          <p:spPr>
            <a:xfrm>
              <a:off x="7330882" y="6698840"/>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endParaRPr lang="en-US" sz="1500" dirty="0">
                <a:solidFill>
                  <a:srgbClr val="0070C0"/>
                </a:solidFill>
              </a:endParaRPr>
            </a:p>
          </p:txBody>
        </p:sp>
        <p:pic>
          <p:nvPicPr>
            <p:cNvPr id="151" name="Picture 150" descr="government 1.png"/>
            <p:cNvPicPr>
              <a:picLocks noChangeAspect="1"/>
            </p:cNvPicPr>
            <p:nvPr/>
          </p:nvPicPr>
          <p:blipFill>
            <a:blip r:embed="rId10" cstate="print"/>
            <a:stretch>
              <a:fillRect/>
            </a:stretch>
          </p:blipFill>
          <p:spPr>
            <a:xfrm>
              <a:off x="7501962" y="4597284"/>
              <a:ext cx="675017" cy="675017"/>
            </a:xfrm>
            <a:prstGeom prst="rect">
              <a:avLst/>
            </a:prstGeom>
          </p:spPr>
        </p:pic>
        <p:pic>
          <p:nvPicPr>
            <p:cNvPr id="152" name="Picture 151" descr="customs.png"/>
            <p:cNvPicPr>
              <a:picLocks noChangeAspect="1"/>
            </p:cNvPicPr>
            <p:nvPr/>
          </p:nvPicPr>
          <p:blipFill>
            <a:blip r:embed="rId9" cstate="print"/>
            <a:stretch>
              <a:fillRect/>
            </a:stretch>
          </p:blipFill>
          <p:spPr>
            <a:xfrm>
              <a:off x="7506384" y="5759940"/>
              <a:ext cx="545316" cy="545316"/>
            </a:xfrm>
            <a:prstGeom prst="rect">
              <a:avLst/>
            </a:prstGeom>
          </p:spPr>
        </p:pic>
        <p:pic>
          <p:nvPicPr>
            <p:cNvPr id="153" name="Picture 152" descr="Drilling 1.png"/>
            <p:cNvPicPr>
              <a:picLocks noChangeAspect="1"/>
            </p:cNvPicPr>
            <p:nvPr/>
          </p:nvPicPr>
          <p:blipFill>
            <a:blip r:embed="rId30" cstate="print"/>
            <a:stretch>
              <a:fillRect/>
            </a:stretch>
          </p:blipFill>
          <p:spPr>
            <a:xfrm>
              <a:off x="609475" y="1440653"/>
              <a:ext cx="503498" cy="503498"/>
            </a:xfrm>
            <a:prstGeom prst="rect">
              <a:avLst/>
            </a:prstGeom>
          </p:spPr>
        </p:pic>
        <p:pic>
          <p:nvPicPr>
            <p:cNvPr id="154" name="Picture 153" descr="0 - Book.png"/>
            <p:cNvPicPr>
              <a:picLocks noChangeAspect="1"/>
            </p:cNvPicPr>
            <p:nvPr/>
          </p:nvPicPr>
          <p:blipFill>
            <a:blip r:embed="rId8" cstate="print"/>
            <a:stretch>
              <a:fillRect/>
            </a:stretch>
          </p:blipFill>
          <p:spPr>
            <a:xfrm>
              <a:off x="8155793" y="6515554"/>
              <a:ext cx="445543" cy="445543"/>
            </a:xfrm>
            <a:prstGeom prst="rect">
              <a:avLst/>
            </a:prstGeom>
          </p:spPr>
        </p:pic>
        <p:cxnSp>
          <p:nvCxnSpPr>
            <p:cNvPr id="155" name="Straight Arrow Connector 154"/>
            <p:cNvCxnSpPr>
              <a:stCxn id="90" idx="3"/>
              <a:endCxn id="147" idx="1"/>
            </p:cNvCxnSpPr>
            <p:nvPr/>
          </p:nvCxnSpPr>
          <p:spPr>
            <a:xfrm flipV="1">
              <a:off x="5850525" y="1971059"/>
              <a:ext cx="1480357" cy="837672"/>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90" idx="3"/>
              <a:endCxn id="146" idx="1"/>
            </p:cNvCxnSpPr>
            <p:nvPr/>
          </p:nvCxnSpPr>
          <p:spPr>
            <a:xfrm>
              <a:off x="5850525" y="2808732"/>
              <a:ext cx="1480357" cy="191101"/>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90" idx="3"/>
              <a:endCxn id="148" idx="1"/>
            </p:cNvCxnSpPr>
            <p:nvPr/>
          </p:nvCxnSpPr>
          <p:spPr>
            <a:xfrm>
              <a:off x="5850525" y="2808731"/>
              <a:ext cx="1480357" cy="1219874"/>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90" idx="3"/>
              <a:endCxn id="149" idx="1"/>
            </p:cNvCxnSpPr>
            <p:nvPr/>
          </p:nvCxnSpPr>
          <p:spPr>
            <a:xfrm>
              <a:off x="5850525" y="2808731"/>
              <a:ext cx="1480357" cy="2248648"/>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90" idx="3"/>
              <a:endCxn id="145" idx="1"/>
            </p:cNvCxnSpPr>
            <p:nvPr/>
          </p:nvCxnSpPr>
          <p:spPr>
            <a:xfrm>
              <a:off x="5850525" y="2808731"/>
              <a:ext cx="1480357" cy="3277421"/>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a:stCxn id="90" idx="3"/>
              <a:endCxn id="150" idx="1"/>
            </p:cNvCxnSpPr>
            <p:nvPr/>
          </p:nvCxnSpPr>
          <p:spPr>
            <a:xfrm>
              <a:off x="5850525" y="2808731"/>
              <a:ext cx="1480357" cy="4306194"/>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1" name="Picture 160" descr="Report 3.png"/>
            <p:cNvPicPr>
              <a:picLocks noChangeAspect="1"/>
            </p:cNvPicPr>
            <p:nvPr/>
          </p:nvPicPr>
          <p:blipFill>
            <a:blip r:embed="rId22" cstate="print"/>
            <a:stretch>
              <a:fillRect/>
            </a:stretch>
          </p:blipFill>
          <p:spPr>
            <a:xfrm>
              <a:off x="6802534" y="1943572"/>
              <a:ext cx="405565" cy="405565"/>
            </a:xfrm>
            <a:prstGeom prst="rect">
              <a:avLst/>
            </a:prstGeom>
          </p:spPr>
        </p:pic>
        <p:pic>
          <p:nvPicPr>
            <p:cNvPr id="162" name="Picture 161" descr="Report 3.png"/>
            <p:cNvPicPr>
              <a:picLocks noChangeAspect="1"/>
            </p:cNvPicPr>
            <p:nvPr/>
          </p:nvPicPr>
          <p:blipFill>
            <a:blip r:embed="rId22" cstate="print"/>
            <a:stretch>
              <a:fillRect/>
            </a:stretch>
          </p:blipFill>
          <p:spPr>
            <a:xfrm>
              <a:off x="6802534" y="2745724"/>
              <a:ext cx="405565" cy="405565"/>
            </a:xfrm>
            <a:prstGeom prst="rect">
              <a:avLst/>
            </a:prstGeom>
          </p:spPr>
        </p:pic>
        <p:pic>
          <p:nvPicPr>
            <p:cNvPr id="163" name="Picture 162" descr="Report 3.png"/>
            <p:cNvPicPr>
              <a:picLocks noChangeAspect="1"/>
            </p:cNvPicPr>
            <p:nvPr/>
          </p:nvPicPr>
          <p:blipFill>
            <a:blip r:embed="rId22" cstate="print"/>
            <a:stretch>
              <a:fillRect/>
            </a:stretch>
          </p:blipFill>
          <p:spPr>
            <a:xfrm>
              <a:off x="6802534" y="3466156"/>
              <a:ext cx="405565" cy="405565"/>
            </a:xfrm>
            <a:prstGeom prst="rect">
              <a:avLst/>
            </a:prstGeom>
          </p:spPr>
        </p:pic>
        <p:pic>
          <p:nvPicPr>
            <p:cNvPr id="164" name="Picture 163" descr="Report 3.png"/>
            <p:cNvPicPr>
              <a:picLocks noChangeAspect="1"/>
            </p:cNvPicPr>
            <p:nvPr/>
          </p:nvPicPr>
          <p:blipFill>
            <a:blip r:embed="rId22" cstate="print"/>
            <a:stretch>
              <a:fillRect/>
            </a:stretch>
          </p:blipFill>
          <p:spPr>
            <a:xfrm>
              <a:off x="6802534" y="4215685"/>
              <a:ext cx="405565" cy="405565"/>
            </a:xfrm>
            <a:prstGeom prst="rect">
              <a:avLst/>
            </a:prstGeom>
          </p:spPr>
        </p:pic>
        <p:pic>
          <p:nvPicPr>
            <p:cNvPr id="165" name="Picture 164" descr="Report 3.png"/>
            <p:cNvPicPr>
              <a:picLocks noChangeAspect="1"/>
            </p:cNvPicPr>
            <p:nvPr/>
          </p:nvPicPr>
          <p:blipFill>
            <a:blip r:embed="rId22" cstate="print"/>
            <a:stretch>
              <a:fillRect/>
            </a:stretch>
          </p:blipFill>
          <p:spPr>
            <a:xfrm>
              <a:off x="6802534" y="5033236"/>
              <a:ext cx="405565" cy="405565"/>
            </a:xfrm>
            <a:prstGeom prst="rect">
              <a:avLst/>
            </a:prstGeom>
          </p:spPr>
        </p:pic>
        <p:pic>
          <p:nvPicPr>
            <p:cNvPr id="166" name="Picture 165" descr="Report 3.png"/>
            <p:cNvPicPr>
              <a:picLocks noChangeAspect="1"/>
            </p:cNvPicPr>
            <p:nvPr/>
          </p:nvPicPr>
          <p:blipFill>
            <a:blip r:embed="rId22" cstate="print"/>
            <a:stretch>
              <a:fillRect/>
            </a:stretch>
          </p:blipFill>
          <p:spPr>
            <a:xfrm>
              <a:off x="6802534" y="5991670"/>
              <a:ext cx="405565" cy="405565"/>
            </a:xfrm>
            <a:prstGeom prst="rect">
              <a:avLst/>
            </a:prstGeom>
          </p:spPr>
        </p:pic>
        <p:sp>
          <p:nvSpPr>
            <p:cNvPr id="167" name="TextBox 166"/>
            <p:cNvSpPr txBox="1"/>
            <p:nvPr/>
          </p:nvSpPr>
          <p:spPr>
            <a:xfrm>
              <a:off x="5778889" y="1100220"/>
              <a:ext cx="1271209" cy="1542633"/>
            </a:xfrm>
            <a:prstGeom prst="rect">
              <a:avLst/>
            </a:prstGeom>
            <a:noFill/>
          </p:spPr>
          <p:txBody>
            <a:bodyPr wrap="square" rtlCol="0">
              <a:spAutoFit/>
            </a:bodyPr>
            <a:lstStyle/>
            <a:p>
              <a:pPr algn="ctr">
                <a:lnSpc>
                  <a:spcPts val="900"/>
                </a:lnSpc>
              </a:pPr>
              <a:r>
                <a:rPr lang="en-US" sz="800" dirty="0">
                  <a:solidFill>
                    <a:srgbClr val="0070C0"/>
                  </a:solidFill>
                  <a:latin typeface="Arial" pitchFamily="34" charset="0"/>
                  <a:cs typeface="Arial" pitchFamily="34" charset="0"/>
                </a:rPr>
                <a:t>Tax, Regulatory, Compliance, Environmental, Safety, Hazardous, Reports, Filings, Certifications, Paperwork, Documentation, Etc. </a:t>
              </a:r>
            </a:p>
          </p:txBody>
        </p:sp>
        <p:sp>
          <p:nvSpPr>
            <p:cNvPr id="168" name="TextBox 167"/>
            <p:cNvSpPr txBox="1"/>
            <p:nvPr/>
          </p:nvSpPr>
          <p:spPr>
            <a:xfrm>
              <a:off x="7443666" y="6333757"/>
              <a:ext cx="748205" cy="226475"/>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Customs</a:t>
              </a:r>
            </a:p>
          </p:txBody>
        </p:sp>
        <p:cxnSp>
          <p:nvCxnSpPr>
            <p:cNvPr id="172" name="Straight Arrow Connector 171"/>
            <p:cNvCxnSpPr>
              <a:stCxn id="84" idx="3"/>
              <a:endCxn id="117" idx="1"/>
            </p:cNvCxnSpPr>
            <p:nvPr/>
          </p:nvCxnSpPr>
          <p:spPr>
            <a:xfrm>
              <a:off x="1368604" y="2928335"/>
              <a:ext cx="298314" cy="0"/>
            </a:xfrm>
            <a:prstGeom prst="straightConnector1">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4326723" y="3508255"/>
              <a:ext cx="1047683" cy="832170"/>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70C0"/>
                </a:solidFill>
              </a:endParaRPr>
            </a:p>
          </p:txBody>
        </p:sp>
        <p:sp>
          <p:nvSpPr>
            <p:cNvPr id="174" name="TextBox 173"/>
            <p:cNvSpPr txBox="1"/>
            <p:nvPr/>
          </p:nvSpPr>
          <p:spPr>
            <a:xfrm>
              <a:off x="4361335" y="4126377"/>
              <a:ext cx="959538" cy="266629"/>
            </a:xfrm>
            <a:prstGeom prst="rect">
              <a:avLst/>
            </a:prstGeom>
            <a:noFill/>
          </p:spPr>
          <p:txBody>
            <a:bodyPr wrap="none" rtlCol="0">
              <a:spAutoFit/>
            </a:bodyPr>
            <a:lstStyle/>
            <a:p>
              <a:pPr algn="ctr"/>
              <a:r>
                <a:rPr lang="en-US" sz="800" dirty="0">
                  <a:solidFill>
                    <a:srgbClr val="0070C0"/>
                  </a:solidFill>
                  <a:latin typeface="Arial" pitchFamily="34" charset="0"/>
                  <a:cs typeface="Arial" pitchFamily="34" charset="0"/>
                </a:rPr>
                <a:t>Reclamation</a:t>
              </a:r>
            </a:p>
          </p:txBody>
        </p:sp>
        <p:cxnSp>
          <p:nvCxnSpPr>
            <p:cNvPr id="175" name="Elbow Connector 174"/>
            <p:cNvCxnSpPr>
              <a:stCxn id="113" idx="3"/>
              <a:endCxn id="173" idx="1"/>
            </p:cNvCxnSpPr>
            <p:nvPr/>
          </p:nvCxnSpPr>
          <p:spPr>
            <a:xfrm>
              <a:off x="4044503" y="2928335"/>
              <a:ext cx="282220" cy="996005"/>
            </a:xfrm>
            <a:prstGeom prst="bentConnector3">
              <a:avLst>
                <a:gd name="adj1" fmla="val 50000"/>
              </a:avLst>
            </a:prstGeom>
            <a:ln>
              <a:solidFill>
                <a:schemeClr val="bg1">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76" name="Picture 175" descr="land 3.png"/>
            <p:cNvPicPr>
              <a:picLocks noChangeAspect="1"/>
            </p:cNvPicPr>
            <p:nvPr/>
          </p:nvPicPr>
          <p:blipFill>
            <a:blip r:embed="rId31" cstate="print"/>
            <a:stretch>
              <a:fillRect/>
            </a:stretch>
          </p:blipFill>
          <p:spPr>
            <a:xfrm>
              <a:off x="4474468" y="3464679"/>
              <a:ext cx="762512" cy="762512"/>
            </a:xfrm>
            <a:prstGeom prst="rect">
              <a:avLst/>
            </a:prstGeom>
          </p:spPr>
        </p:pic>
        <p:cxnSp>
          <p:nvCxnSpPr>
            <p:cNvPr id="187" name="Straight Arrow Connector 186"/>
            <p:cNvCxnSpPr/>
            <p:nvPr/>
          </p:nvCxnSpPr>
          <p:spPr>
            <a:xfrm>
              <a:off x="3508990" y="6402553"/>
              <a:ext cx="0" cy="301604"/>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p:cNvCxnSpPr/>
            <p:nvPr/>
          </p:nvCxnSpPr>
          <p:spPr>
            <a:xfrm>
              <a:off x="2163594" y="6403965"/>
              <a:ext cx="0" cy="301604"/>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p:nvPr/>
          </p:nvCxnSpPr>
          <p:spPr>
            <a:xfrm>
              <a:off x="4840308" y="6397236"/>
              <a:ext cx="0" cy="301604"/>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a:off x="6164372" y="6398187"/>
              <a:ext cx="0" cy="301604"/>
            </a:xfrm>
            <a:prstGeom prst="straightConnector1">
              <a:avLst/>
            </a:prstGeom>
            <a:ln>
              <a:solidFill>
                <a:schemeClr val="bg1">
                  <a:lumMod val="6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91" name="Picture 190" descr="gold refinery.png"/>
            <p:cNvPicPr>
              <a:picLocks noChangeAspect="1"/>
            </p:cNvPicPr>
            <p:nvPr/>
          </p:nvPicPr>
          <p:blipFill>
            <a:blip r:embed="rId17" cstate="print"/>
            <a:stretch>
              <a:fillRect/>
            </a:stretch>
          </p:blipFill>
          <p:spPr>
            <a:xfrm>
              <a:off x="495288" y="6693240"/>
              <a:ext cx="705196" cy="705196"/>
            </a:xfrm>
            <a:prstGeom prst="rect">
              <a:avLst/>
            </a:prstGeom>
          </p:spPr>
        </p:pic>
        <p:pic>
          <p:nvPicPr>
            <p:cNvPr id="192" name="Picture 191" descr="wholesaler 1.png"/>
            <p:cNvPicPr>
              <a:picLocks noChangeAspect="1"/>
            </p:cNvPicPr>
            <p:nvPr/>
          </p:nvPicPr>
          <p:blipFill>
            <a:blip r:embed="rId32" cstate="print"/>
            <a:stretch>
              <a:fillRect/>
            </a:stretch>
          </p:blipFill>
          <p:spPr>
            <a:xfrm>
              <a:off x="4626762" y="6744073"/>
              <a:ext cx="461983" cy="461983"/>
            </a:xfrm>
            <a:prstGeom prst="rect">
              <a:avLst/>
            </a:prstGeom>
          </p:spPr>
        </p:pic>
        <p:pic>
          <p:nvPicPr>
            <p:cNvPr id="193" name="Picture 192" descr="wholesaler 2.png"/>
            <p:cNvPicPr>
              <a:picLocks noChangeAspect="1"/>
            </p:cNvPicPr>
            <p:nvPr/>
          </p:nvPicPr>
          <p:blipFill>
            <a:blip r:embed="rId19" cstate="print"/>
            <a:stretch>
              <a:fillRect/>
            </a:stretch>
          </p:blipFill>
          <p:spPr>
            <a:xfrm>
              <a:off x="4273642" y="6863793"/>
              <a:ext cx="427093" cy="427093"/>
            </a:xfrm>
            <a:prstGeom prst="rect">
              <a:avLst/>
            </a:prstGeom>
          </p:spPr>
        </p:pic>
        <p:pic>
          <p:nvPicPr>
            <p:cNvPr id="194" name="Picture 193" descr="wholesaler 3.png"/>
            <p:cNvPicPr>
              <a:picLocks noChangeAspect="1"/>
            </p:cNvPicPr>
            <p:nvPr/>
          </p:nvPicPr>
          <p:blipFill>
            <a:blip r:embed="rId20" cstate="print"/>
            <a:stretch>
              <a:fillRect/>
            </a:stretch>
          </p:blipFill>
          <p:spPr>
            <a:xfrm>
              <a:off x="5069895" y="7021233"/>
              <a:ext cx="287014" cy="287014"/>
            </a:xfrm>
            <a:prstGeom prst="rect">
              <a:avLst/>
            </a:prstGeom>
          </p:spPr>
        </p:pic>
        <p:pic>
          <p:nvPicPr>
            <p:cNvPr id="195" name="Picture 194" descr="Bank 1.png"/>
            <p:cNvPicPr>
              <a:picLocks noChangeAspect="1"/>
            </p:cNvPicPr>
            <p:nvPr/>
          </p:nvPicPr>
          <p:blipFill>
            <a:blip r:embed="rId16" cstate="print"/>
            <a:stretch>
              <a:fillRect/>
            </a:stretch>
          </p:blipFill>
          <p:spPr>
            <a:xfrm>
              <a:off x="3242707" y="6777643"/>
              <a:ext cx="555262" cy="555262"/>
            </a:xfrm>
            <a:prstGeom prst="rect">
              <a:avLst/>
            </a:prstGeom>
          </p:spPr>
        </p:pic>
        <p:pic>
          <p:nvPicPr>
            <p:cNvPr id="196" name="Picture 195" descr="Retailer.png"/>
            <p:cNvPicPr>
              <a:picLocks noChangeAspect="1"/>
            </p:cNvPicPr>
            <p:nvPr/>
          </p:nvPicPr>
          <p:blipFill>
            <a:blip r:embed="rId21" cstate="print"/>
            <a:stretch>
              <a:fillRect/>
            </a:stretch>
          </p:blipFill>
          <p:spPr>
            <a:xfrm>
              <a:off x="5896738" y="6737199"/>
              <a:ext cx="620363" cy="620363"/>
            </a:xfrm>
            <a:prstGeom prst="rect">
              <a:avLst/>
            </a:prstGeom>
          </p:spPr>
        </p:pic>
        <p:pic>
          <p:nvPicPr>
            <p:cNvPr id="197" name="Picture 196" descr="traders.png"/>
            <p:cNvPicPr>
              <a:picLocks noChangeAspect="1"/>
            </p:cNvPicPr>
            <p:nvPr/>
          </p:nvPicPr>
          <p:blipFill>
            <a:blip r:embed="rId15" cstate="print"/>
            <a:stretch>
              <a:fillRect/>
            </a:stretch>
          </p:blipFill>
          <p:spPr>
            <a:xfrm>
              <a:off x="1894732" y="6786515"/>
              <a:ext cx="566015" cy="566015"/>
            </a:xfrm>
            <a:prstGeom prst="rect">
              <a:avLst/>
            </a:prstGeom>
          </p:spPr>
        </p:pic>
        <p:pic>
          <p:nvPicPr>
            <p:cNvPr id="207" name="Picture 206" descr="Mining Truck 1.png"/>
            <p:cNvPicPr>
              <a:picLocks noChangeAspect="1"/>
            </p:cNvPicPr>
            <p:nvPr/>
          </p:nvPicPr>
          <p:blipFill>
            <a:blip r:embed="rId33" cstate="print"/>
            <a:stretch>
              <a:fillRect/>
            </a:stretch>
          </p:blipFill>
          <p:spPr>
            <a:xfrm>
              <a:off x="4439386" y="1146874"/>
              <a:ext cx="837014" cy="837014"/>
            </a:xfrm>
            <a:prstGeom prst="rect">
              <a:avLst/>
            </a:prstGeom>
          </p:spPr>
        </p:pic>
      </p:grpSp>
      <p:sp>
        <p:nvSpPr>
          <p:cNvPr id="208" name="TextBox 207"/>
          <p:cNvSpPr txBox="1"/>
          <p:nvPr/>
        </p:nvSpPr>
        <p:spPr>
          <a:xfrm>
            <a:off x="9434477" y="2111716"/>
            <a:ext cx="487634" cy="182999"/>
          </a:xfrm>
          <a:prstGeom prst="rect">
            <a:avLst/>
          </a:prstGeom>
          <a:noFill/>
        </p:spPr>
        <p:txBody>
          <a:bodyPr wrap="none" rtlCol="0">
            <a:spAutoFit/>
          </a:bodyPr>
          <a:lstStyle/>
          <a:p>
            <a:pPr algn="ctr">
              <a:lnSpc>
                <a:spcPts val="700"/>
              </a:lnSpc>
            </a:pPr>
            <a:r>
              <a:rPr lang="en-US" sz="800" dirty="0">
                <a:solidFill>
                  <a:srgbClr val="0070C0"/>
                </a:solidFill>
                <a:latin typeface="Arial" pitchFamily="34" charset="0"/>
                <a:cs typeface="Arial" pitchFamily="34" charset="0"/>
              </a:rPr>
              <a:t>Mining</a:t>
            </a:r>
          </a:p>
        </p:txBody>
      </p:sp>
      <p:pic>
        <p:nvPicPr>
          <p:cNvPr id="209" name="Picture 208" descr="Mining 2.png"/>
          <p:cNvPicPr>
            <a:picLocks noChangeAspect="1"/>
          </p:cNvPicPr>
          <p:nvPr/>
        </p:nvPicPr>
        <p:blipFill>
          <a:blip r:embed="rId23" cstate="print"/>
          <a:stretch>
            <a:fillRect/>
          </a:stretch>
        </p:blipFill>
        <p:spPr>
          <a:xfrm>
            <a:off x="9439962" y="1692916"/>
            <a:ext cx="394421" cy="394421"/>
          </a:xfrm>
          <a:prstGeom prst="rect">
            <a:avLst/>
          </a:prstGeom>
        </p:spPr>
      </p:pic>
      <p:pic>
        <p:nvPicPr>
          <p:cNvPr id="211" name="Picture 16" descr="5300_IBMpos_black_PPT_bkgd"/>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1380703" y="90237"/>
            <a:ext cx="714375" cy="31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 name="Rectangle 211">
            <a:extLst>
              <a:ext uri="{FF2B5EF4-FFF2-40B4-BE49-F238E27FC236}">
                <a16:creationId xmlns:a16="http://schemas.microsoft.com/office/drawing/2014/main" id="{46D21EDE-DD0F-4FBA-A6D5-26852FD8374B}"/>
              </a:ext>
            </a:extLst>
          </p:cNvPr>
          <p:cNvSpPr/>
          <p:nvPr/>
        </p:nvSpPr>
        <p:spPr>
          <a:xfrm>
            <a:off x="7175265" y="554182"/>
            <a:ext cx="4937738" cy="5938693"/>
          </a:xfrm>
          <a:prstGeom prst="rect">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spcFirstLastPara="1" lIns="0" tIns="0" rIns="0" bIns="0" spcCol="38100" rtlCol="0" anchor="ctr">
            <a:noAutofit/>
          </a:bodyPr>
          <a:lstStyle/>
          <a:p>
            <a:pPr algn="ctr" defTabSz="548618"/>
            <a:endParaRPr lang="en-GB" sz="1500" kern="0" dirty="0">
              <a:latin typeface="Calibri"/>
              <a:sym typeface="Calibri"/>
            </a:endParaRPr>
          </a:p>
        </p:txBody>
      </p:sp>
      <p:sp>
        <p:nvSpPr>
          <p:cNvPr id="213" name="Rectangle 212">
            <a:extLst>
              <a:ext uri="{FF2B5EF4-FFF2-40B4-BE49-F238E27FC236}">
                <a16:creationId xmlns:a16="http://schemas.microsoft.com/office/drawing/2014/main" id="{A064EB05-1B49-4B55-A17E-307224C976C5}"/>
              </a:ext>
            </a:extLst>
          </p:cNvPr>
          <p:cNvSpPr/>
          <p:nvPr/>
        </p:nvSpPr>
        <p:spPr>
          <a:xfrm>
            <a:off x="187961" y="571500"/>
            <a:ext cx="6881439" cy="5921375"/>
          </a:xfrm>
          <a:prstGeom prst="rect">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spcFirstLastPara="1" lIns="0" tIns="0" rIns="0" bIns="0" spcCol="38100" rtlCol="0" anchor="ctr">
            <a:noAutofit/>
          </a:bodyPr>
          <a:lstStyle/>
          <a:p>
            <a:pPr algn="ctr" defTabSz="548618"/>
            <a:endParaRPr lang="en-GB" sz="1500" kern="0" dirty="0">
              <a:latin typeface="Calibri"/>
              <a:sym typeface="Calibri"/>
            </a:endParaRPr>
          </a:p>
        </p:txBody>
      </p:sp>
      <p:sp>
        <p:nvSpPr>
          <p:cNvPr id="214" name="Title 34">
            <a:extLst>
              <a:ext uri="{FF2B5EF4-FFF2-40B4-BE49-F238E27FC236}">
                <a16:creationId xmlns:a16="http://schemas.microsoft.com/office/drawing/2014/main" id="{D605C439-FA50-2346-BDBC-A3C24D1B9EDD}"/>
              </a:ext>
            </a:extLst>
          </p:cNvPr>
          <p:cNvSpPr txBox="1">
            <a:spLocks/>
          </p:cNvSpPr>
          <p:nvPr/>
        </p:nvSpPr>
        <p:spPr>
          <a:xfrm>
            <a:off x="140968" y="76735"/>
            <a:ext cx="10623548" cy="4862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70C0"/>
                </a:solidFill>
                <a:latin typeface="Arial" panose="020B0604020202020204" pitchFamily="34" charset="0"/>
                <a:cs typeface="Arial" panose="020B0604020202020204" pitchFamily="34" charset="0"/>
              </a:rPr>
              <a:t>IBM &amp; RCS </a:t>
            </a:r>
            <a:r>
              <a:rPr lang="en-US" sz="2800">
                <a:solidFill>
                  <a:srgbClr val="0070C0"/>
                </a:solidFill>
                <a:latin typeface="Arial" panose="020B0604020202020204" pitchFamily="34" charset="0"/>
                <a:cs typeface="Arial" panose="020B0604020202020204" pitchFamily="34" charset="0"/>
              </a:rPr>
              <a:t>Global collaboration for Mining</a:t>
            </a:r>
            <a:endParaRPr lang="en-US" sz="2800" dirty="0">
              <a:solidFill>
                <a:srgbClr val="0070C0"/>
              </a:solidFill>
              <a:latin typeface="Arial" panose="020B0604020202020204" pitchFamily="34" charset="0"/>
              <a:cs typeface="Arial" panose="020B0604020202020204" pitchFamily="34" charset="0"/>
            </a:endParaRPr>
          </a:p>
        </p:txBody>
      </p:sp>
      <p:sp>
        <p:nvSpPr>
          <p:cNvPr id="215" name="Slide Number Placeholder 4">
            <a:extLst>
              <a:ext uri="{FF2B5EF4-FFF2-40B4-BE49-F238E27FC236}">
                <a16:creationId xmlns:a16="http://schemas.microsoft.com/office/drawing/2014/main" id="{AF5BA12D-351B-7647-AD3B-2C9F136C8C49}"/>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4</a:t>
            </a:fld>
            <a:endParaRPr lang="uk-UA" dirty="0"/>
          </a:p>
        </p:txBody>
      </p:sp>
    </p:spTree>
    <p:extLst>
      <p:ext uri="{BB962C8B-B14F-4D97-AF65-F5344CB8AC3E}">
        <p14:creationId xmlns:p14="http://schemas.microsoft.com/office/powerpoint/2010/main" val="291178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ruck 5.png"/>
          <p:cNvPicPr>
            <a:picLocks noChangeAspect="1"/>
          </p:cNvPicPr>
          <p:nvPr/>
        </p:nvPicPr>
        <p:blipFill>
          <a:blip r:embed="rId3" cstate="print"/>
          <a:srcRect/>
          <a:stretch>
            <a:fillRect/>
          </a:stretch>
        </p:blipFill>
        <p:spPr bwMode="auto">
          <a:xfrm>
            <a:off x="1012032" y="5564188"/>
            <a:ext cx="562239" cy="562240"/>
          </a:xfrm>
          <a:prstGeom prst="rect">
            <a:avLst/>
          </a:prstGeom>
          <a:noFill/>
          <a:ln w="9525">
            <a:noFill/>
            <a:miter lim="800000"/>
            <a:headEnd/>
            <a:tailEnd/>
          </a:ln>
        </p:spPr>
      </p:pic>
      <p:pic>
        <p:nvPicPr>
          <p:cNvPr id="5" name="Picture 4" descr="Gold bullion.png"/>
          <p:cNvPicPr>
            <a:picLocks noChangeAspect="1"/>
          </p:cNvPicPr>
          <p:nvPr/>
        </p:nvPicPr>
        <p:blipFill>
          <a:blip r:embed="rId4" cstate="print"/>
          <a:srcRect/>
          <a:stretch>
            <a:fillRect/>
          </a:stretch>
        </p:blipFill>
        <p:spPr bwMode="auto">
          <a:xfrm>
            <a:off x="3126053" y="5683250"/>
            <a:ext cx="562239" cy="562240"/>
          </a:xfrm>
          <a:prstGeom prst="rect">
            <a:avLst/>
          </a:prstGeom>
          <a:noFill/>
          <a:ln w="9525">
            <a:noFill/>
            <a:miter lim="800000"/>
            <a:headEnd/>
            <a:tailEnd/>
          </a:ln>
        </p:spPr>
      </p:pic>
      <p:pic>
        <p:nvPicPr>
          <p:cNvPr id="6" name="Picture 5" descr="Manufacturing Plant.png"/>
          <p:cNvPicPr>
            <a:picLocks noChangeAspect="1"/>
          </p:cNvPicPr>
          <p:nvPr/>
        </p:nvPicPr>
        <p:blipFill>
          <a:blip r:embed="rId5" cstate="print"/>
          <a:srcRect/>
          <a:stretch>
            <a:fillRect/>
          </a:stretch>
        </p:blipFill>
        <p:spPr bwMode="auto">
          <a:xfrm>
            <a:off x="1708373" y="5259917"/>
            <a:ext cx="889000" cy="887678"/>
          </a:xfrm>
          <a:prstGeom prst="rect">
            <a:avLst/>
          </a:prstGeom>
          <a:noFill/>
          <a:ln w="9525">
            <a:noFill/>
            <a:miter lim="800000"/>
            <a:headEnd/>
            <a:tailEnd/>
          </a:ln>
        </p:spPr>
      </p:pic>
      <p:pic>
        <p:nvPicPr>
          <p:cNvPr id="7" name="Picture 6" descr="Mine.png"/>
          <p:cNvPicPr>
            <a:picLocks noChangeAspect="1"/>
          </p:cNvPicPr>
          <p:nvPr/>
        </p:nvPicPr>
        <p:blipFill>
          <a:blip r:embed="rId6" cstate="print"/>
          <a:srcRect/>
          <a:stretch>
            <a:fillRect/>
          </a:stretch>
        </p:blipFill>
        <p:spPr bwMode="auto">
          <a:xfrm>
            <a:off x="199761" y="5443803"/>
            <a:ext cx="695854" cy="695854"/>
          </a:xfrm>
          <a:prstGeom prst="rect">
            <a:avLst/>
          </a:prstGeom>
          <a:noFill/>
          <a:ln w="9525">
            <a:noFill/>
            <a:miter lim="800000"/>
            <a:headEnd/>
            <a:tailEnd/>
          </a:ln>
        </p:spPr>
      </p:pic>
      <p:pic>
        <p:nvPicPr>
          <p:cNvPr id="8" name="Picture 7" descr="Truck 2.png"/>
          <p:cNvPicPr>
            <a:picLocks noChangeAspect="1"/>
          </p:cNvPicPr>
          <p:nvPr/>
        </p:nvPicPr>
        <p:blipFill>
          <a:blip r:embed="rId7" cstate="print"/>
          <a:srcRect/>
          <a:stretch>
            <a:fillRect/>
          </a:stretch>
        </p:blipFill>
        <p:spPr bwMode="auto">
          <a:xfrm>
            <a:off x="3999178" y="5461000"/>
            <a:ext cx="932656" cy="932656"/>
          </a:xfrm>
          <a:prstGeom prst="rect">
            <a:avLst/>
          </a:prstGeom>
          <a:noFill/>
          <a:ln w="9525">
            <a:noFill/>
            <a:miter lim="800000"/>
            <a:headEnd/>
            <a:tailEnd/>
          </a:ln>
        </p:spPr>
      </p:pic>
      <p:pic>
        <p:nvPicPr>
          <p:cNvPr id="9" name="Picture 8" descr="Security.png"/>
          <p:cNvPicPr>
            <a:picLocks noChangeAspect="1"/>
          </p:cNvPicPr>
          <p:nvPr/>
        </p:nvPicPr>
        <p:blipFill>
          <a:blip r:embed="rId8" cstate="print"/>
          <a:srcRect/>
          <a:stretch>
            <a:fillRect/>
          </a:stretch>
        </p:blipFill>
        <p:spPr bwMode="auto">
          <a:xfrm>
            <a:off x="3688292" y="5582709"/>
            <a:ext cx="485511" cy="485511"/>
          </a:xfrm>
          <a:prstGeom prst="rect">
            <a:avLst/>
          </a:prstGeom>
          <a:noFill/>
          <a:ln w="9525">
            <a:noFill/>
            <a:miter lim="800000"/>
            <a:headEnd/>
            <a:tailEnd/>
          </a:ln>
        </p:spPr>
      </p:pic>
      <p:pic>
        <p:nvPicPr>
          <p:cNvPr id="10" name="Picture 9" descr="Helicoptor.png"/>
          <p:cNvPicPr>
            <a:picLocks noChangeAspect="1"/>
          </p:cNvPicPr>
          <p:nvPr/>
        </p:nvPicPr>
        <p:blipFill>
          <a:blip r:embed="rId9" cstate="print"/>
          <a:srcRect/>
          <a:stretch>
            <a:fillRect/>
          </a:stretch>
        </p:blipFill>
        <p:spPr bwMode="auto">
          <a:xfrm>
            <a:off x="4931834" y="5304896"/>
            <a:ext cx="765969" cy="767292"/>
          </a:xfrm>
          <a:prstGeom prst="rect">
            <a:avLst/>
          </a:prstGeom>
          <a:noFill/>
          <a:ln w="9525">
            <a:noFill/>
            <a:miter lim="800000"/>
            <a:headEnd/>
            <a:tailEnd/>
          </a:ln>
        </p:spPr>
      </p:pic>
      <p:pic>
        <p:nvPicPr>
          <p:cNvPr id="11" name="Picture 10" descr="Chemicals.png"/>
          <p:cNvPicPr>
            <a:picLocks noChangeAspect="1"/>
          </p:cNvPicPr>
          <p:nvPr/>
        </p:nvPicPr>
        <p:blipFill>
          <a:blip r:embed="rId10" cstate="print"/>
          <a:srcRect/>
          <a:stretch>
            <a:fillRect/>
          </a:stretch>
        </p:blipFill>
        <p:spPr bwMode="auto">
          <a:xfrm>
            <a:off x="2710657" y="5836709"/>
            <a:ext cx="257968" cy="256646"/>
          </a:xfrm>
          <a:prstGeom prst="rect">
            <a:avLst/>
          </a:prstGeom>
          <a:noFill/>
          <a:ln w="9525">
            <a:noFill/>
            <a:miter lim="800000"/>
            <a:headEnd/>
            <a:tailEnd/>
          </a:ln>
        </p:spPr>
      </p:pic>
      <p:pic>
        <p:nvPicPr>
          <p:cNvPr id="12" name="Picture 11" descr="airplane.png"/>
          <p:cNvPicPr>
            <a:picLocks noChangeAspect="1"/>
          </p:cNvPicPr>
          <p:nvPr/>
        </p:nvPicPr>
        <p:blipFill>
          <a:blip r:embed="rId11" cstate="print"/>
          <a:srcRect/>
          <a:stretch>
            <a:fillRect/>
          </a:stretch>
        </p:blipFill>
        <p:spPr bwMode="auto">
          <a:xfrm>
            <a:off x="5697802" y="5005917"/>
            <a:ext cx="878417" cy="877094"/>
          </a:xfrm>
          <a:prstGeom prst="rect">
            <a:avLst/>
          </a:prstGeom>
          <a:noFill/>
          <a:ln w="9525">
            <a:noFill/>
            <a:miter lim="800000"/>
            <a:headEnd/>
            <a:tailEnd/>
          </a:ln>
        </p:spPr>
      </p:pic>
      <p:pic>
        <p:nvPicPr>
          <p:cNvPr id="13" name="Picture 12" descr="Truck 2.png"/>
          <p:cNvPicPr>
            <a:picLocks noChangeAspect="1"/>
          </p:cNvPicPr>
          <p:nvPr/>
        </p:nvPicPr>
        <p:blipFill>
          <a:blip r:embed="rId7" cstate="print"/>
          <a:srcRect/>
          <a:stretch>
            <a:fillRect/>
          </a:stretch>
        </p:blipFill>
        <p:spPr bwMode="auto">
          <a:xfrm>
            <a:off x="6918854" y="5461000"/>
            <a:ext cx="932657" cy="932656"/>
          </a:xfrm>
          <a:prstGeom prst="rect">
            <a:avLst/>
          </a:prstGeom>
          <a:noFill/>
          <a:ln w="9525">
            <a:noFill/>
            <a:miter lim="800000"/>
            <a:headEnd/>
            <a:tailEnd/>
          </a:ln>
        </p:spPr>
      </p:pic>
      <p:pic>
        <p:nvPicPr>
          <p:cNvPr id="14" name="Picture 13" descr="manufacter 4.png"/>
          <p:cNvPicPr>
            <a:picLocks noChangeAspect="1"/>
          </p:cNvPicPr>
          <p:nvPr/>
        </p:nvPicPr>
        <p:blipFill>
          <a:blip r:embed="rId12" cstate="print"/>
          <a:srcRect/>
          <a:stretch>
            <a:fillRect/>
          </a:stretch>
        </p:blipFill>
        <p:spPr bwMode="auto">
          <a:xfrm>
            <a:off x="8502386" y="4677833"/>
            <a:ext cx="767292" cy="767292"/>
          </a:xfrm>
          <a:prstGeom prst="rect">
            <a:avLst/>
          </a:prstGeom>
          <a:noFill/>
          <a:ln w="9525">
            <a:noFill/>
            <a:miter lim="800000"/>
            <a:headEnd/>
            <a:tailEnd/>
          </a:ln>
        </p:spPr>
      </p:pic>
      <p:pic>
        <p:nvPicPr>
          <p:cNvPr id="15" name="Picture 14" descr="banks.png"/>
          <p:cNvPicPr>
            <a:picLocks noChangeAspect="1"/>
          </p:cNvPicPr>
          <p:nvPr/>
        </p:nvPicPr>
        <p:blipFill>
          <a:blip r:embed="rId13" cstate="print"/>
          <a:srcRect/>
          <a:stretch>
            <a:fillRect/>
          </a:stretch>
        </p:blipFill>
        <p:spPr bwMode="auto">
          <a:xfrm>
            <a:off x="9498542" y="5175250"/>
            <a:ext cx="562240" cy="562240"/>
          </a:xfrm>
          <a:prstGeom prst="rect">
            <a:avLst/>
          </a:prstGeom>
          <a:noFill/>
          <a:ln w="9525">
            <a:noFill/>
            <a:miter lim="800000"/>
            <a:headEnd/>
            <a:tailEnd/>
          </a:ln>
        </p:spPr>
      </p:pic>
      <p:pic>
        <p:nvPicPr>
          <p:cNvPr id="16" name="Picture 15" descr="Retailer.png"/>
          <p:cNvPicPr>
            <a:picLocks noChangeAspect="1"/>
          </p:cNvPicPr>
          <p:nvPr/>
        </p:nvPicPr>
        <p:blipFill>
          <a:blip r:embed="rId14" cstate="print"/>
          <a:srcRect/>
          <a:stretch>
            <a:fillRect/>
          </a:stretch>
        </p:blipFill>
        <p:spPr bwMode="auto">
          <a:xfrm>
            <a:off x="10361084" y="5335324"/>
            <a:ext cx="637646" cy="637646"/>
          </a:xfrm>
          <a:prstGeom prst="rect">
            <a:avLst/>
          </a:prstGeom>
          <a:noFill/>
          <a:ln w="9525">
            <a:noFill/>
            <a:miter lim="800000"/>
            <a:headEnd/>
            <a:tailEnd/>
          </a:ln>
        </p:spPr>
      </p:pic>
      <p:pic>
        <p:nvPicPr>
          <p:cNvPr id="17" name="Picture 16" descr="Manufacturing Industry.png"/>
          <p:cNvPicPr>
            <a:picLocks noChangeAspect="1"/>
          </p:cNvPicPr>
          <p:nvPr/>
        </p:nvPicPr>
        <p:blipFill>
          <a:blip r:embed="rId15" cstate="print"/>
          <a:srcRect/>
          <a:stretch>
            <a:fillRect/>
          </a:stretch>
        </p:blipFill>
        <p:spPr bwMode="auto">
          <a:xfrm>
            <a:off x="11355917" y="5556250"/>
            <a:ext cx="681303" cy="681303"/>
          </a:xfrm>
          <a:prstGeom prst="rect">
            <a:avLst/>
          </a:prstGeom>
          <a:noFill/>
          <a:ln w="9525">
            <a:noFill/>
            <a:miter lim="800000"/>
            <a:headEnd/>
            <a:tailEnd/>
          </a:ln>
        </p:spPr>
      </p:pic>
      <p:sp>
        <p:nvSpPr>
          <p:cNvPr id="18" name="Oval 17"/>
          <p:cNvSpPr/>
          <p:nvPr/>
        </p:nvSpPr>
        <p:spPr>
          <a:xfrm>
            <a:off x="206375" y="2653771"/>
            <a:ext cx="11539803" cy="727604"/>
          </a:xfrm>
          <a:prstGeom prst="ellipse">
            <a:avLst/>
          </a:prstGeom>
          <a:solidFill>
            <a:srgbClr val="A9DEE5"/>
          </a:solid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500" dirty="0">
              <a:solidFill>
                <a:srgbClr val="002060"/>
              </a:solidFill>
            </a:endParaRPr>
          </a:p>
        </p:txBody>
      </p:sp>
      <p:sp>
        <p:nvSpPr>
          <p:cNvPr id="19" name="TextBox 18"/>
          <p:cNvSpPr txBox="1">
            <a:spLocks noChangeArrowheads="1"/>
          </p:cNvSpPr>
          <p:nvPr/>
        </p:nvSpPr>
        <p:spPr bwMode="auto">
          <a:xfrm>
            <a:off x="4425157" y="2848241"/>
            <a:ext cx="3086364" cy="312843"/>
          </a:xfrm>
          <a:prstGeom prst="rect">
            <a:avLst/>
          </a:prstGeom>
          <a:noFill/>
          <a:ln w="9525">
            <a:noFill/>
            <a:miter lim="800000"/>
            <a:headEnd/>
            <a:tailEnd/>
          </a:ln>
        </p:spPr>
        <p:txBody>
          <a:bodyPr lIns="68580" tIns="34290" rIns="68580" bIns="34290">
            <a:spAutoFit/>
          </a:bodyPr>
          <a:lstStyle/>
          <a:p>
            <a:pPr algn="ctr"/>
            <a:r>
              <a:rPr lang="en-US" sz="1583" b="1">
                <a:solidFill>
                  <a:srgbClr val="002060"/>
                </a:solidFill>
                <a:cs typeface="Arial" pitchFamily="34" charset="0"/>
              </a:rPr>
              <a:t>Blockchain         Network</a:t>
            </a:r>
          </a:p>
        </p:txBody>
      </p:sp>
      <p:grpSp>
        <p:nvGrpSpPr>
          <p:cNvPr id="20" name="Group 257"/>
          <p:cNvGrpSpPr>
            <a:grpSpLocks/>
          </p:cNvGrpSpPr>
          <p:nvPr/>
        </p:nvGrpSpPr>
        <p:grpSpPr bwMode="auto">
          <a:xfrm>
            <a:off x="5904178" y="2829719"/>
            <a:ext cx="373063" cy="332052"/>
            <a:chOff x="3023890" y="4293046"/>
            <a:chExt cx="611187" cy="542925"/>
          </a:xfrm>
        </p:grpSpPr>
        <p:sp>
          <p:nvSpPr>
            <p:cNvPr id="21" name="AutoShape 352"/>
            <p:cNvSpPr>
              <a:spLocks noChangeArrowheads="1"/>
            </p:cNvSpPr>
            <p:nvPr/>
          </p:nvSpPr>
          <p:spPr bwMode="auto">
            <a:xfrm>
              <a:off x="3023890" y="4293046"/>
              <a:ext cx="611187" cy="542925"/>
            </a:xfrm>
            <a:prstGeom prst="hexagon">
              <a:avLst>
                <a:gd name="adj" fmla="val 28191"/>
                <a:gd name="vf" fmla="val 115470"/>
              </a:avLst>
            </a:prstGeom>
            <a:solidFill>
              <a:srgbClr val="2F5689">
                <a:alpha val="79999"/>
              </a:srgbClr>
            </a:solidFill>
            <a:ln w="19050">
              <a:solidFill>
                <a:schemeClr val="bg1">
                  <a:lumMod val="50000"/>
                </a:schemeClr>
              </a:solidFill>
              <a:miter lim="800000"/>
              <a:headEnd/>
              <a:tailEnd/>
            </a:ln>
          </p:spPr>
          <p:txBody>
            <a:bodyPr wrap="none" anchor="ctr"/>
            <a:lstStyle/>
            <a:p>
              <a:pPr algn="ctr">
                <a:defRPr/>
              </a:pPr>
              <a:endParaRPr lang="en-US" sz="1500" dirty="0">
                <a:solidFill>
                  <a:srgbClr val="002060"/>
                </a:solidFill>
                <a:latin typeface="Arial" charset="0"/>
                <a:ea typeface="MS PGothic" pitchFamily="34" charset="-128"/>
              </a:endParaRPr>
            </a:p>
          </p:txBody>
        </p:sp>
        <p:pic>
          <p:nvPicPr>
            <p:cNvPr id="22" name="Picture 353" descr="icon"/>
            <p:cNvPicPr>
              <a:picLocks noChangeAspect="1" noChangeArrowheads="1"/>
            </p:cNvPicPr>
            <p:nvPr/>
          </p:nvPicPr>
          <p:blipFill>
            <a:blip r:embed="rId16" cstate="print"/>
            <a:srcRect/>
            <a:stretch>
              <a:fillRect/>
            </a:stretch>
          </p:blipFill>
          <p:spPr bwMode="auto">
            <a:xfrm>
              <a:off x="3133442" y="4346472"/>
              <a:ext cx="400731" cy="427409"/>
            </a:xfrm>
            <a:prstGeom prst="rect">
              <a:avLst/>
            </a:prstGeom>
            <a:noFill/>
            <a:ln w="9525">
              <a:noFill/>
              <a:miter lim="800000"/>
              <a:headEnd/>
              <a:tailEnd/>
            </a:ln>
          </p:spPr>
        </p:pic>
      </p:grpSp>
      <p:cxnSp>
        <p:nvCxnSpPr>
          <p:cNvPr id="23" name="Straight Connector 22"/>
          <p:cNvCxnSpPr/>
          <p:nvPr/>
        </p:nvCxnSpPr>
        <p:spPr>
          <a:xfrm flipV="1">
            <a:off x="7113324" y="6093354"/>
            <a:ext cx="3885406"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667625" y="6086740"/>
            <a:ext cx="258365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30" idx="2"/>
          </p:cNvCxnSpPr>
          <p:nvPr/>
        </p:nvCxnSpPr>
        <p:spPr>
          <a:xfrm flipV="1">
            <a:off x="7678208" y="5716324"/>
            <a:ext cx="1721115" cy="377031"/>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7678209" y="5414699"/>
            <a:ext cx="769938" cy="678656"/>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pic>
        <p:nvPicPr>
          <p:cNvPr id="27" name="Picture 26" descr="customs.png"/>
          <p:cNvPicPr>
            <a:picLocks noChangeAspect="1"/>
          </p:cNvPicPr>
          <p:nvPr/>
        </p:nvPicPr>
        <p:blipFill>
          <a:blip r:embed="rId17" cstate="print"/>
          <a:srcRect/>
          <a:stretch>
            <a:fillRect/>
          </a:stretch>
        </p:blipFill>
        <p:spPr bwMode="auto">
          <a:xfrm>
            <a:off x="6549761" y="5724261"/>
            <a:ext cx="375708" cy="375708"/>
          </a:xfrm>
          <a:prstGeom prst="rect">
            <a:avLst/>
          </a:prstGeom>
          <a:noFill/>
          <a:ln w="9525">
            <a:noFill/>
            <a:miter lim="800000"/>
            <a:headEnd/>
            <a:tailEnd/>
          </a:ln>
        </p:spPr>
      </p:pic>
      <p:cxnSp>
        <p:nvCxnSpPr>
          <p:cNvPr id="28" name="Straight Connector 27"/>
          <p:cNvCxnSpPr>
            <a:endCxn id="31" idx="2"/>
          </p:cNvCxnSpPr>
          <p:nvPr/>
        </p:nvCxnSpPr>
        <p:spPr>
          <a:xfrm flipV="1">
            <a:off x="7678209" y="5918729"/>
            <a:ext cx="2573073" cy="17462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pic>
        <p:nvPicPr>
          <p:cNvPr id="29" name="Picture 28" descr="Security.png"/>
          <p:cNvPicPr>
            <a:picLocks noChangeAspect="1"/>
          </p:cNvPicPr>
          <p:nvPr/>
        </p:nvPicPr>
        <p:blipFill>
          <a:blip r:embed="rId8" cstate="print"/>
          <a:srcRect/>
          <a:stretch>
            <a:fillRect/>
          </a:stretch>
        </p:blipFill>
        <p:spPr bwMode="auto">
          <a:xfrm>
            <a:off x="8204729" y="4958292"/>
            <a:ext cx="486833" cy="486833"/>
          </a:xfrm>
          <a:prstGeom prst="rect">
            <a:avLst/>
          </a:prstGeom>
          <a:noFill/>
          <a:ln w="9525">
            <a:noFill/>
            <a:miter lim="800000"/>
            <a:headEnd/>
            <a:tailEnd/>
          </a:ln>
        </p:spPr>
      </p:pic>
      <p:pic>
        <p:nvPicPr>
          <p:cNvPr id="30" name="Picture 29" descr="Security.png"/>
          <p:cNvPicPr>
            <a:picLocks noChangeAspect="1"/>
          </p:cNvPicPr>
          <p:nvPr/>
        </p:nvPicPr>
        <p:blipFill>
          <a:blip r:embed="rId8" cstate="print"/>
          <a:srcRect/>
          <a:stretch>
            <a:fillRect/>
          </a:stretch>
        </p:blipFill>
        <p:spPr bwMode="auto">
          <a:xfrm>
            <a:off x="9155907" y="5229490"/>
            <a:ext cx="486833" cy="486833"/>
          </a:xfrm>
          <a:prstGeom prst="rect">
            <a:avLst/>
          </a:prstGeom>
          <a:noFill/>
          <a:ln w="9525">
            <a:noFill/>
            <a:miter lim="800000"/>
            <a:headEnd/>
            <a:tailEnd/>
          </a:ln>
        </p:spPr>
      </p:pic>
      <p:pic>
        <p:nvPicPr>
          <p:cNvPr id="31" name="Picture 30" descr="Security.png"/>
          <p:cNvPicPr>
            <a:picLocks noChangeAspect="1"/>
          </p:cNvPicPr>
          <p:nvPr/>
        </p:nvPicPr>
        <p:blipFill>
          <a:blip r:embed="rId8" cstate="print"/>
          <a:srcRect/>
          <a:stretch>
            <a:fillRect/>
          </a:stretch>
        </p:blipFill>
        <p:spPr bwMode="auto">
          <a:xfrm>
            <a:off x="10007865" y="5433219"/>
            <a:ext cx="486833" cy="485510"/>
          </a:xfrm>
          <a:prstGeom prst="rect">
            <a:avLst/>
          </a:prstGeom>
          <a:noFill/>
          <a:ln w="9525">
            <a:noFill/>
            <a:miter lim="800000"/>
            <a:headEnd/>
            <a:tailEnd/>
          </a:ln>
        </p:spPr>
      </p:pic>
      <p:cxnSp>
        <p:nvCxnSpPr>
          <p:cNvPr id="32" name="Straight Connector 31"/>
          <p:cNvCxnSpPr/>
          <p:nvPr/>
        </p:nvCxnSpPr>
        <p:spPr>
          <a:xfrm>
            <a:off x="7135813" y="6093354"/>
            <a:ext cx="3856303" cy="0"/>
          </a:xfrm>
          <a:prstGeom prst="line">
            <a:avLst/>
          </a:prstGeom>
          <a:ln>
            <a:solidFill>
              <a:srgbClr val="FFFF00"/>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7702021" y="5433220"/>
            <a:ext cx="715698" cy="648229"/>
          </a:xfrm>
          <a:prstGeom prst="line">
            <a:avLst/>
          </a:prstGeom>
          <a:ln>
            <a:solidFill>
              <a:srgbClr val="FFFF00"/>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7814469" y="5728230"/>
            <a:ext cx="1533260" cy="342636"/>
          </a:xfrm>
          <a:prstGeom prst="line">
            <a:avLst/>
          </a:prstGeom>
          <a:ln>
            <a:solidFill>
              <a:srgbClr val="FFFF00"/>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7851511" y="5916084"/>
            <a:ext cx="2379927" cy="168011"/>
          </a:xfrm>
          <a:prstGeom prst="line">
            <a:avLst/>
          </a:prstGeom>
          <a:ln>
            <a:solidFill>
              <a:srgbClr val="FFFF00"/>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a:spLocks noChangeArrowheads="1"/>
          </p:cNvSpPr>
          <p:nvPr/>
        </p:nvSpPr>
        <p:spPr bwMode="auto">
          <a:xfrm>
            <a:off x="9555524" y="5656792"/>
            <a:ext cx="466795" cy="233462"/>
          </a:xfrm>
          <a:prstGeom prst="rect">
            <a:avLst/>
          </a:prstGeom>
          <a:noFill/>
          <a:ln w="9525">
            <a:noFill/>
            <a:miter lim="800000"/>
            <a:headEnd/>
            <a:tailEnd/>
          </a:ln>
        </p:spPr>
        <p:txBody>
          <a:bodyPr wrap="none" lIns="91440" tIns="45720" rIns="91440" bIns="45720">
            <a:spAutoFit/>
          </a:bodyPr>
          <a:lstStyle/>
          <a:p>
            <a:pPr algn="ctr"/>
            <a:r>
              <a:rPr lang="en-US" sz="917">
                <a:solidFill>
                  <a:srgbClr val="002060"/>
                </a:solidFill>
                <a:cs typeface="Arial" pitchFamily="34" charset="0"/>
              </a:rPr>
              <a:t>Banks</a:t>
            </a:r>
          </a:p>
        </p:txBody>
      </p:sp>
      <p:sp>
        <p:nvSpPr>
          <p:cNvPr id="37" name="TextBox 36"/>
          <p:cNvSpPr txBox="1">
            <a:spLocks noChangeArrowheads="1"/>
          </p:cNvSpPr>
          <p:nvPr/>
        </p:nvSpPr>
        <p:spPr bwMode="auto">
          <a:xfrm>
            <a:off x="10366858" y="5865813"/>
            <a:ext cx="606256" cy="233462"/>
          </a:xfrm>
          <a:prstGeom prst="rect">
            <a:avLst/>
          </a:prstGeom>
          <a:noFill/>
          <a:ln w="9525">
            <a:noFill/>
            <a:miter lim="800000"/>
            <a:headEnd/>
            <a:tailEnd/>
          </a:ln>
        </p:spPr>
        <p:txBody>
          <a:bodyPr wrap="none" lIns="91440" tIns="45720" rIns="91440" bIns="45720">
            <a:spAutoFit/>
          </a:bodyPr>
          <a:lstStyle/>
          <a:p>
            <a:pPr algn="ctr"/>
            <a:r>
              <a:rPr lang="en-US" sz="917" dirty="0">
                <a:solidFill>
                  <a:srgbClr val="002060"/>
                </a:solidFill>
                <a:cs typeface="Arial" pitchFamily="34" charset="0"/>
              </a:rPr>
              <a:t>Retailers</a:t>
            </a:r>
          </a:p>
        </p:txBody>
      </p:sp>
      <p:sp>
        <p:nvSpPr>
          <p:cNvPr id="38" name="TextBox 37"/>
          <p:cNvSpPr txBox="1">
            <a:spLocks noChangeArrowheads="1"/>
          </p:cNvSpPr>
          <p:nvPr/>
        </p:nvSpPr>
        <p:spPr bwMode="auto">
          <a:xfrm>
            <a:off x="8543848" y="5394854"/>
            <a:ext cx="667170" cy="233462"/>
          </a:xfrm>
          <a:prstGeom prst="rect">
            <a:avLst/>
          </a:prstGeom>
          <a:noFill/>
          <a:ln w="9525">
            <a:noFill/>
            <a:miter lim="800000"/>
            <a:headEnd/>
            <a:tailEnd/>
          </a:ln>
        </p:spPr>
        <p:txBody>
          <a:bodyPr wrap="none" lIns="91440" tIns="45720" rIns="91440" bIns="45720">
            <a:spAutoFit/>
          </a:bodyPr>
          <a:lstStyle/>
          <a:p>
            <a:pPr algn="ctr"/>
            <a:r>
              <a:rPr lang="en-US" sz="917">
                <a:solidFill>
                  <a:srgbClr val="002060"/>
                </a:solidFill>
                <a:cs typeface="Arial" pitchFamily="34" charset="0"/>
              </a:rPr>
              <a:t>Refineries</a:t>
            </a:r>
          </a:p>
        </p:txBody>
      </p:sp>
      <p:cxnSp>
        <p:nvCxnSpPr>
          <p:cNvPr id="39" name="Straight Arrow Connector 38"/>
          <p:cNvCxnSpPr/>
          <p:nvPr/>
        </p:nvCxnSpPr>
        <p:spPr>
          <a:xfrm>
            <a:off x="350574" y="3106208"/>
            <a:ext cx="11906" cy="2488407"/>
          </a:xfrm>
          <a:prstGeom prst="straightConnector1">
            <a:avLst/>
          </a:prstGeom>
          <a:ln>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2056301" y="3300678"/>
            <a:ext cx="0" cy="2137833"/>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1422136" y="3254375"/>
            <a:ext cx="0" cy="2165615"/>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836333" y="3350949"/>
            <a:ext cx="0" cy="2530739"/>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3403865" y="3356240"/>
            <a:ext cx="0" cy="2227792"/>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3943615" y="3377407"/>
            <a:ext cx="0" cy="2201333"/>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4585229" y="3381375"/>
            <a:ext cx="0" cy="2074333"/>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5372365" y="3389312"/>
            <a:ext cx="0" cy="1878542"/>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432021" y="3402542"/>
            <a:ext cx="0" cy="1707886"/>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6806407" y="3393282"/>
            <a:ext cx="0" cy="2365375"/>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502261" y="3381375"/>
            <a:ext cx="0" cy="2074333"/>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452115" y="3360209"/>
            <a:ext cx="0" cy="1568979"/>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9407261" y="3317875"/>
            <a:ext cx="0" cy="1911615"/>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10249958" y="3254375"/>
            <a:ext cx="0" cy="2190750"/>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1150865" y="3190875"/>
            <a:ext cx="0" cy="2508250"/>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4" name="Picture 53" descr="Security.png"/>
          <p:cNvPicPr>
            <a:picLocks noChangeAspect="1"/>
          </p:cNvPicPr>
          <p:nvPr/>
        </p:nvPicPr>
        <p:blipFill>
          <a:blip r:embed="rId8" cstate="print"/>
          <a:srcRect/>
          <a:stretch>
            <a:fillRect/>
          </a:stretch>
        </p:blipFill>
        <p:spPr bwMode="auto">
          <a:xfrm>
            <a:off x="10907448" y="5663407"/>
            <a:ext cx="485510" cy="485510"/>
          </a:xfrm>
          <a:prstGeom prst="rect">
            <a:avLst/>
          </a:prstGeom>
          <a:noFill/>
          <a:ln w="9525">
            <a:noFill/>
            <a:miter lim="800000"/>
            <a:headEnd/>
            <a:tailEnd/>
          </a:ln>
        </p:spPr>
      </p:pic>
      <p:pic>
        <p:nvPicPr>
          <p:cNvPr id="55" name="Picture 54" descr="IoT.png"/>
          <p:cNvPicPr>
            <a:picLocks noChangeAspect="1"/>
          </p:cNvPicPr>
          <p:nvPr/>
        </p:nvPicPr>
        <p:blipFill>
          <a:blip r:embed="rId18" cstate="print"/>
          <a:srcRect/>
          <a:stretch>
            <a:fillRect/>
          </a:stretch>
        </p:blipFill>
        <p:spPr bwMode="auto">
          <a:xfrm>
            <a:off x="175949" y="4893469"/>
            <a:ext cx="392906" cy="391583"/>
          </a:xfrm>
          <a:prstGeom prst="rect">
            <a:avLst/>
          </a:prstGeom>
          <a:noFill/>
          <a:ln w="9525">
            <a:noFill/>
            <a:miter lim="800000"/>
            <a:headEnd/>
            <a:tailEnd/>
          </a:ln>
        </p:spPr>
      </p:pic>
      <p:pic>
        <p:nvPicPr>
          <p:cNvPr id="56" name="Picture 55" descr="IoT.png"/>
          <p:cNvPicPr>
            <a:picLocks noChangeAspect="1"/>
          </p:cNvPicPr>
          <p:nvPr/>
        </p:nvPicPr>
        <p:blipFill>
          <a:blip r:embed="rId18" cstate="print"/>
          <a:srcRect/>
          <a:stretch>
            <a:fillRect/>
          </a:stretch>
        </p:blipFill>
        <p:spPr bwMode="auto">
          <a:xfrm>
            <a:off x="1869769" y="4893469"/>
            <a:ext cx="392907" cy="391583"/>
          </a:xfrm>
          <a:prstGeom prst="rect">
            <a:avLst/>
          </a:prstGeom>
          <a:noFill/>
          <a:ln w="9525">
            <a:noFill/>
            <a:miter lim="800000"/>
            <a:headEnd/>
            <a:tailEnd/>
          </a:ln>
        </p:spPr>
      </p:pic>
      <p:pic>
        <p:nvPicPr>
          <p:cNvPr id="57" name="Picture 56" descr="IoT.png"/>
          <p:cNvPicPr>
            <a:picLocks noChangeAspect="1"/>
          </p:cNvPicPr>
          <p:nvPr/>
        </p:nvPicPr>
        <p:blipFill>
          <a:blip r:embed="rId18" cstate="print"/>
          <a:srcRect/>
          <a:stretch>
            <a:fillRect/>
          </a:stretch>
        </p:blipFill>
        <p:spPr bwMode="auto">
          <a:xfrm>
            <a:off x="2640542" y="5270500"/>
            <a:ext cx="392907" cy="392907"/>
          </a:xfrm>
          <a:prstGeom prst="rect">
            <a:avLst/>
          </a:prstGeom>
          <a:noFill/>
          <a:ln w="9525">
            <a:noFill/>
            <a:miter lim="800000"/>
            <a:headEnd/>
            <a:tailEnd/>
          </a:ln>
        </p:spPr>
      </p:pic>
      <p:pic>
        <p:nvPicPr>
          <p:cNvPr id="58" name="Picture 57" descr="IoT.png"/>
          <p:cNvPicPr>
            <a:picLocks noChangeAspect="1"/>
          </p:cNvPicPr>
          <p:nvPr/>
        </p:nvPicPr>
        <p:blipFill>
          <a:blip r:embed="rId18" cstate="print"/>
          <a:srcRect/>
          <a:stretch>
            <a:fillRect/>
          </a:stretch>
        </p:blipFill>
        <p:spPr bwMode="auto">
          <a:xfrm>
            <a:off x="3757083" y="4942417"/>
            <a:ext cx="392907" cy="392907"/>
          </a:xfrm>
          <a:prstGeom prst="rect">
            <a:avLst/>
          </a:prstGeom>
          <a:noFill/>
          <a:ln w="9525">
            <a:noFill/>
            <a:miter lim="800000"/>
            <a:headEnd/>
            <a:tailEnd/>
          </a:ln>
        </p:spPr>
      </p:pic>
      <p:pic>
        <p:nvPicPr>
          <p:cNvPr id="59" name="Picture 58" descr="IoT.png"/>
          <p:cNvPicPr>
            <a:picLocks noChangeAspect="1"/>
          </p:cNvPicPr>
          <p:nvPr/>
        </p:nvPicPr>
        <p:blipFill>
          <a:blip r:embed="rId18" cstate="print"/>
          <a:srcRect/>
          <a:stretch>
            <a:fillRect/>
          </a:stretch>
        </p:blipFill>
        <p:spPr bwMode="auto">
          <a:xfrm>
            <a:off x="6627813" y="5226845"/>
            <a:ext cx="391583" cy="392906"/>
          </a:xfrm>
          <a:prstGeom prst="rect">
            <a:avLst/>
          </a:prstGeom>
          <a:noFill/>
          <a:ln w="9525">
            <a:noFill/>
            <a:miter lim="800000"/>
            <a:headEnd/>
            <a:tailEnd/>
          </a:ln>
        </p:spPr>
      </p:pic>
      <p:pic>
        <p:nvPicPr>
          <p:cNvPr id="60" name="Picture 59" descr="IoT.png"/>
          <p:cNvPicPr>
            <a:picLocks noChangeAspect="1"/>
          </p:cNvPicPr>
          <p:nvPr/>
        </p:nvPicPr>
        <p:blipFill>
          <a:blip r:embed="rId18" cstate="print"/>
          <a:srcRect/>
          <a:stretch>
            <a:fillRect/>
          </a:stretch>
        </p:blipFill>
        <p:spPr bwMode="auto">
          <a:xfrm>
            <a:off x="8268229" y="4403990"/>
            <a:ext cx="392907" cy="391583"/>
          </a:xfrm>
          <a:prstGeom prst="rect">
            <a:avLst/>
          </a:prstGeom>
          <a:noFill/>
          <a:ln w="9525">
            <a:noFill/>
            <a:miter lim="800000"/>
            <a:headEnd/>
            <a:tailEnd/>
          </a:ln>
        </p:spPr>
      </p:pic>
      <p:pic>
        <p:nvPicPr>
          <p:cNvPr id="61" name="Picture 60" descr="IoT.png"/>
          <p:cNvPicPr>
            <a:picLocks noChangeAspect="1"/>
          </p:cNvPicPr>
          <p:nvPr/>
        </p:nvPicPr>
        <p:blipFill>
          <a:blip r:embed="rId18" cstate="print"/>
          <a:srcRect/>
          <a:stretch>
            <a:fillRect/>
          </a:stretch>
        </p:blipFill>
        <p:spPr bwMode="auto">
          <a:xfrm>
            <a:off x="9219407" y="4663282"/>
            <a:ext cx="392906" cy="392906"/>
          </a:xfrm>
          <a:prstGeom prst="rect">
            <a:avLst/>
          </a:prstGeom>
          <a:noFill/>
          <a:ln w="9525">
            <a:noFill/>
            <a:miter lim="800000"/>
            <a:headEnd/>
            <a:tailEnd/>
          </a:ln>
        </p:spPr>
      </p:pic>
      <p:pic>
        <p:nvPicPr>
          <p:cNvPr id="62" name="Picture 61" descr="IoT.png"/>
          <p:cNvPicPr>
            <a:picLocks noChangeAspect="1"/>
          </p:cNvPicPr>
          <p:nvPr/>
        </p:nvPicPr>
        <p:blipFill>
          <a:blip r:embed="rId18" cstate="print"/>
          <a:srcRect/>
          <a:stretch>
            <a:fillRect/>
          </a:stretch>
        </p:blipFill>
        <p:spPr bwMode="auto">
          <a:xfrm>
            <a:off x="10064750" y="4860396"/>
            <a:ext cx="392907" cy="392907"/>
          </a:xfrm>
          <a:prstGeom prst="rect">
            <a:avLst/>
          </a:prstGeom>
          <a:noFill/>
          <a:ln w="9525">
            <a:noFill/>
            <a:miter lim="800000"/>
            <a:headEnd/>
            <a:tailEnd/>
          </a:ln>
        </p:spPr>
      </p:pic>
      <p:pic>
        <p:nvPicPr>
          <p:cNvPr id="63" name="Picture 62" descr="IoT.png"/>
          <p:cNvPicPr>
            <a:picLocks noChangeAspect="1"/>
          </p:cNvPicPr>
          <p:nvPr/>
        </p:nvPicPr>
        <p:blipFill>
          <a:blip r:embed="rId18" cstate="print"/>
          <a:srcRect/>
          <a:stretch>
            <a:fillRect/>
          </a:stretch>
        </p:blipFill>
        <p:spPr bwMode="auto">
          <a:xfrm>
            <a:off x="10963011" y="5122333"/>
            <a:ext cx="392906" cy="392907"/>
          </a:xfrm>
          <a:prstGeom prst="rect">
            <a:avLst/>
          </a:prstGeom>
          <a:noFill/>
          <a:ln w="9525">
            <a:noFill/>
            <a:miter lim="800000"/>
            <a:headEnd/>
            <a:tailEnd/>
          </a:ln>
        </p:spPr>
      </p:pic>
      <p:cxnSp>
        <p:nvCxnSpPr>
          <p:cNvPr id="64" name="Straight Arrow Connector 63"/>
          <p:cNvCxnSpPr/>
          <p:nvPr/>
        </p:nvCxnSpPr>
        <p:spPr>
          <a:xfrm flipH="1">
            <a:off x="2677584" y="1336146"/>
            <a:ext cx="1042458" cy="0"/>
          </a:xfrm>
          <a:prstGeom prst="straightConnector1">
            <a:avLst/>
          </a:prstGeom>
          <a:ln w="12700">
            <a:solidFill>
              <a:schemeClr val="bg1">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p:cNvSpPr txBox="1">
            <a:spLocks noChangeArrowheads="1"/>
          </p:cNvSpPr>
          <p:nvPr/>
        </p:nvSpPr>
        <p:spPr bwMode="auto">
          <a:xfrm>
            <a:off x="3567907" y="956469"/>
            <a:ext cx="1158875" cy="355610"/>
          </a:xfrm>
          <a:prstGeom prst="rect">
            <a:avLst/>
          </a:prstGeom>
          <a:noFill/>
          <a:ln w="9525">
            <a:noFill/>
            <a:miter lim="800000"/>
            <a:headEnd/>
            <a:tailEnd/>
          </a:ln>
        </p:spPr>
        <p:txBody>
          <a:bodyPr lIns="68580" tIns="34290" rIns="68580" bIns="34290">
            <a:spAutoFit/>
          </a:bodyPr>
          <a:lstStyle/>
          <a:p>
            <a:pPr algn="ctr">
              <a:lnSpc>
                <a:spcPts val="1125"/>
              </a:lnSpc>
            </a:pPr>
            <a:r>
              <a:rPr lang="en-US" sz="1167" b="1" dirty="0">
                <a:cs typeface="Arial" pitchFamily="34" charset="0"/>
              </a:rPr>
              <a:t>Analytics &amp;</a:t>
            </a:r>
          </a:p>
          <a:p>
            <a:pPr algn="ctr">
              <a:lnSpc>
                <a:spcPts val="1125"/>
              </a:lnSpc>
            </a:pPr>
            <a:r>
              <a:rPr lang="en-US" sz="1167" b="1" dirty="0">
                <a:cs typeface="Arial" pitchFamily="34" charset="0"/>
              </a:rPr>
              <a:t>Cognitive</a:t>
            </a:r>
          </a:p>
        </p:txBody>
      </p:sp>
      <p:cxnSp>
        <p:nvCxnSpPr>
          <p:cNvPr id="66" name="Straight Arrow Connector 65"/>
          <p:cNvCxnSpPr/>
          <p:nvPr/>
        </p:nvCxnSpPr>
        <p:spPr>
          <a:xfrm flipH="1">
            <a:off x="1714501" y="1004094"/>
            <a:ext cx="2013479" cy="0"/>
          </a:xfrm>
          <a:prstGeom prst="straightConnector1">
            <a:avLst/>
          </a:prstGeom>
          <a:ln w="12700">
            <a:solidFill>
              <a:schemeClr val="bg1">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7" name="Picture 66" descr="report.png"/>
          <p:cNvPicPr>
            <a:picLocks noChangeAspect="1"/>
          </p:cNvPicPr>
          <p:nvPr/>
        </p:nvPicPr>
        <p:blipFill>
          <a:blip r:embed="rId19" cstate="print"/>
          <a:srcRect/>
          <a:stretch>
            <a:fillRect/>
          </a:stretch>
        </p:blipFill>
        <p:spPr bwMode="auto">
          <a:xfrm>
            <a:off x="5098521" y="1276615"/>
            <a:ext cx="538428" cy="539750"/>
          </a:xfrm>
          <a:prstGeom prst="rect">
            <a:avLst/>
          </a:prstGeom>
          <a:noFill/>
          <a:ln w="9525">
            <a:noFill/>
            <a:miter lim="800000"/>
            <a:headEnd/>
            <a:tailEnd/>
          </a:ln>
        </p:spPr>
      </p:pic>
      <p:pic>
        <p:nvPicPr>
          <p:cNvPr id="68" name="Picture 67" descr="reports.png"/>
          <p:cNvPicPr>
            <a:picLocks noChangeAspect="1"/>
          </p:cNvPicPr>
          <p:nvPr/>
        </p:nvPicPr>
        <p:blipFill>
          <a:blip r:embed="rId20" cstate="print"/>
          <a:srcRect/>
          <a:stretch>
            <a:fillRect/>
          </a:stretch>
        </p:blipFill>
        <p:spPr bwMode="auto">
          <a:xfrm>
            <a:off x="5322094" y="1486959"/>
            <a:ext cx="538427" cy="459053"/>
          </a:xfrm>
          <a:prstGeom prst="rect">
            <a:avLst/>
          </a:prstGeom>
          <a:noFill/>
          <a:ln w="9525">
            <a:noFill/>
            <a:miter lim="800000"/>
            <a:headEnd/>
            <a:tailEnd/>
          </a:ln>
        </p:spPr>
      </p:pic>
      <p:cxnSp>
        <p:nvCxnSpPr>
          <p:cNvPr id="69" name="Straight Arrow Connector 68"/>
          <p:cNvCxnSpPr/>
          <p:nvPr/>
        </p:nvCxnSpPr>
        <p:spPr>
          <a:xfrm>
            <a:off x="4468813" y="1486958"/>
            <a:ext cx="629708" cy="0"/>
          </a:xfrm>
          <a:prstGeom prst="straightConnector1">
            <a:avLst/>
          </a:prstGeom>
          <a:ln w="12700">
            <a:solidFill>
              <a:schemeClr val="bg1">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322792" y="889001"/>
            <a:ext cx="5961063" cy="1362604"/>
          </a:xfrm>
          <a:prstGeom prst="roundRect">
            <a:avLst/>
          </a:prstGeom>
          <a:noFill/>
          <a:ln w="9525">
            <a:solidFill>
              <a:srgbClr val="66FF6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500" dirty="0"/>
          </a:p>
        </p:txBody>
      </p:sp>
      <p:sp>
        <p:nvSpPr>
          <p:cNvPr id="71" name="TextBox 70"/>
          <p:cNvSpPr txBox="1">
            <a:spLocks noChangeArrowheads="1"/>
          </p:cNvSpPr>
          <p:nvPr/>
        </p:nvSpPr>
        <p:spPr bwMode="auto">
          <a:xfrm>
            <a:off x="5561955" y="1058333"/>
            <a:ext cx="675185" cy="451534"/>
          </a:xfrm>
          <a:prstGeom prst="rect">
            <a:avLst/>
          </a:prstGeom>
          <a:noFill/>
          <a:ln w="9525">
            <a:noFill/>
            <a:miter lim="800000"/>
            <a:headEnd/>
            <a:tailEnd/>
          </a:ln>
        </p:spPr>
        <p:txBody>
          <a:bodyPr wrap="none" lIns="91440" tIns="45720" rIns="91440" bIns="45720">
            <a:spAutoFit/>
          </a:bodyPr>
          <a:lstStyle/>
          <a:p>
            <a:pPr algn="ctr"/>
            <a:r>
              <a:rPr lang="en-US" sz="1167">
                <a:solidFill>
                  <a:schemeClr val="bg1"/>
                </a:solidFill>
                <a:cs typeface="Arial" pitchFamily="34" charset="0"/>
              </a:rPr>
              <a:t>Reports</a:t>
            </a:r>
          </a:p>
          <a:p>
            <a:pPr algn="ctr"/>
            <a:r>
              <a:rPr lang="en-US" sz="1167">
                <a:solidFill>
                  <a:schemeClr val="bg1"/>
                </a:solidFill>
                <a:cs typeface="Arial" pitchFamily="34" charset="0"/>
              </a:rPr>
              <a:t>Analysis</a:t>
            </a:r>
          </a:p>
        </p:txBody>
      </p:sp>
      <p:sp>
        <p:nvSpPr>
          <p:cNvPr id="72" name="Rounded Rectangle 71"/>
          <p:cNvSpPr/>
          <p:nvPr/>
        </p:nvSpPr>
        <p:spPr>
          <a:xfrm>
            <a:off x="8559271" y="1621896"/>
            <a:ext cx="873125" cy="693208"/>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1500" dirty="0">
              <a:solidFill>
                <a:srgbClr val="002060"/>
              </a:solidFill>
            </a:endParaRPr>
          </a:p>
        </p:txBody>
      </p:sp>
      <p:sp>
        <p:nvSpPr>
          <p:cNvPr id="73" name="TextBox 72"/>
          <p:cNvSpPr txBox="1">
            <a:spLocks noChangeArrowheads="1"/>
          </p:cNvSpPr>
          <p:nvPr/>
        </p:nvSpPr>
        <p:spPr bwMode="auto">
          <a:xfrm>
            <a:off x="8505032" y="2025386"/>
            <a:ext cx="967052" cy="277640"/>
          </a:xfrm>
          <a:prstGeom prst="rect">
            <a:avLst/>
          </a:prstGeom>
          <a:noFill/>
          <a:ln w="9525">
            <a:noFill/>
            <a:miter lim="800000"/>
            <a:headEnd/>
            <a:tailEnd/>
          </a:ln>
        </p:spPr>
        <p:txBody>
          <a:bodyPr lIns="91440" tIns="45720" rIns="91440" bIns="45720">
            <a:spAutoFit/>
          </a:bodyPr>
          <a:lstStyle/>
          <a:p>
            <a:pPr algn="ctr">
              <a:lnSpc>
                <a:spcPts val="698"/>
              </a:lnSpc>
            </a:pPr>
            <a:r>
              <a:rPr lang="en-US" sz="833">
                <a:solidFill>
                  <a:srgbClr val="002060"/>
                </a:solidFill>
                <a:cs typeface="Arial" pitchFamily="34" charset="0"/>
              </a:rPr>
              <a:t>Traders,  Exporters, Banks</a:t>
            </a:r>
          </a:p>
        </p:txBody>
      </p:sp>
      <p:pic>
        <p:nvPicPr>
          <p:cNvPr id="74" name="Picture 73" descr="traders.png"/>
          <p:cNvPicPr>
            <a:picLocks noChangeAspect="1"/>
          </p:cNvPicPr>
          <p:nvPr/>
        </p:nvPicPr>
        <p:blipFill>
          <a:blip r:embed="rId21" cstate="print"/>
          <a:srcRect/>
          <a:stretch>
            <a:fillRect/>
          </a:stretch>
        </p:blipFill>
        <p:spPr bwMode="auto">
          <a:xfrm>
            <a:off x="8591021" y="1711855"/>
            <a:ext cx="346604" cy="346604"/>
          </a:xfrm>
          <a:prstGeom prst="rect">
            <a:avLst/>
          </a:prstGeom>
          <a:noFill/>
          <a:ln w="9525">
            <a:noFill/>
            <a:miter lim="800000"/>
            <a:headEnd/>
            <a:tailEnd/>
          </a:ln>
        </p:spPr>
      </p:pic>
      <p:pic>
        <p:nvPicPr>
          <p:cNvPr id="75" name="Picture 74" descr="Bank 1.png"/>
          <p:cNvPicPr>
            <a:picLocks noChangeAspect="1"/>
          </p:cNvPicPr>
          <p:nvPr/>
        </p:nvPicPr>
        <p:blipFill>
          <a:blip r:embed="rId22" cstate="print"/>
          <a:srcRect/>
          <a:stretch>
            <a:fillRect/>
          </a:stretch>
        </p:blipFill>
        <p:spPr bwMode="auto">
          <a:xfrm>
            <a:off x="9020969" y="1693333"/>
            <a:ext cx="349250" cy="349250"/>
          </a:xfrm>
          <a:prstGeom prst="rect">
            <a:avLst/>
          </a:prstGeom>
          <a:noFill/>
          <a:ln w="9525">
            <a:noFill/>
            <a:miter lim="800000"/>
            <a:headEnd/>
            <a:tailEnd/>
          </a:ln>
        </p:spPr>
      </p:pic>
      <p:sp>
        <p:nvSpPr>
          <p:cNvPr id="76" name="Rounded Rectangle 75"/>
          <p:cNvSpPr/>
          <p:nvPr/>
        </p:nvSpPr>
        <p:spPr>
          <a:xfrm>
            <a:off x="9604375" y="1621896"/>
            <a:ext cx="873125" cy="693208"/>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1500" dirty="0">
              <a:solidFill>
                <a:srgbClr val="002060"/>
              </a:solidFill>
            </a:endParaRPr>
          </a:p>
        </p:txBody>
      </p:sp>
      <p:sp>
        <p:nvSpPr>
          <p:cNvPr id="77" name="TextBox 76"/>
          <p:cNvSpPr txBox="1">
            <a:spLocks noChangeArrowheads="1"/>
          </p:cNvSpPr>
          <p:nvPr/>
        </p:nvSpPr>
        <p:spPr bwMode="auto">
          <a:xfrm>
            <a:off x="9634803" y="2038616"/>
            <a:ext cx="850635" cy="255198"/>
          </a:xfrm>
          <a:prstGeom prst="rect">
            <a:avLst/>
          </a:prstGeom>
          <a:noFill/>
          <a:ln w="9525">
            <a:noFill/>
            <a:miter lim="800000"/>
            <a:headEnd/>
            <a:tailEnd/>
          </a:ln>
        </p:spPr>
        <p:txBody>
          <a:bodyPr lIns="91440" tIns="45720" rIns="91440" bIns="45720">
            <a:spAutoFit/>
          </a:bodyPr>
          <a:lstStyle/>
          <a:p>
            <a:pPr algn="ctr">
              <a:lnSpc>
                <a:spcPts val="604"/>
              </a:lnSpc>
            </a:pPr>
            <a:r>
              <a:rPr lang="en-US" sz="833">
                <a:solidFill>
                  <a:srgbClr val="002060"/>
                </a:solidFill>
                <a:cs typeface="Arial" pitchFamily="34" charset="0"/>
              </a:rPr>
              <a:t>Cross Boarder Agencies</a:t>
            </a:r>
          </a:p>
        </p:txBody>
      </p:sp>
      <p:pic>
        <p:nvPicPr>
          <p:cNvPr id="78" name="Picture 77" descr="USA Map.png"/>
          <p:cNvPicPr>
            <a:picLocks noChangeAspect="1"/>
          </p:cNvPicPr>
          <p:nvPr/>
        </p:nvPicPr>
        <p:blipFill>
          <a:blip r:embed="rId23" cstate="print"/>
          <a:srcRect/>
          <a:stretch>
            <a:fillRect/>
          </a:stretch>
        </p:blipFill>
        <p:spPr bwMode="auto">
          <a:xfrm>
            <a:off x="9634802" y="1590146"/>
            <a:ext cx="465667" cy="464344"/>
          </a:xfrm>
          <a:prstGeom prst="rect">
            <a:avLst/>
          </a:prstGeom>
          <a:noFill/>
          <a:ln w="9525">
            <a:noFill/>
            <a:miter lim="800000"/>
            <a:headEnd/>
            <a:tailEnd/>
          </a:ln>
        </p:spPr>
      </p:pic>
      <p:pic>
        <p:nvPicPr>
          <p:cNvPr id="79" name="Picture 78" descr="Globe Map.png"/>
          <p:cNvPicPr>
            <a:picLocks noChangeAspect="1"/>
          </p:cNvPicPr>
          <p:nvPr/>
        </p:nvPicPr>
        <p:blipFill>
          <a:blip r:embed="rId24" cstate="print"/>
          <a:srcRect/>
          <a:stretch>
            <a:fillRect/>
          </a:stretch>
        </p:blipFill>
        <p:spPr bwMode="auto">
          <a:xfrm>
            <a:off x="10006542" y="1707886"/>
            <a:ext cx="482865" cy="481542"/>
          </a:xfrm>
          <a:prstGeom prst="rect">
            <a:avLst/>
          </a:prstGeom>
          <a:noFill/>
          <a:ln w="9525">
            <a:noFill/>
            <a:miter lim="800000"/>
            <a:headEnd/>
            <a:tailEnd/>
          </a:ln>
        </p:spPr>
      </p:pic>
      <p:sp>
        <p:nvSpPr>
          <p:cNvPr id="80" name="Rounded Rectangle 79"/>
          <p:cNvSpPr/>
          <p:nvPr/>
        </p:nvSpPr>
        <p:spPr>
          <a:xfrm>
            <a:off x="10649479" y="1621896"/>
            <a:ext cx="873125" cy="693208"/>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1500" dirty="0">
              <a:solidFill>
                <a:srgbClr val="002060"/>
              </a:solidFill>
            </a:endParaRPr>
          </a:p>
        </p:txBody>
      </p:sp>
      <p:cxnSp>
        <p:nvCxnSpPr>
          <p:cNvPr id="81" name="Straight Connector 80"/>
          <p:cNvCxnSpPr/>
          <p:nvPr/>
        </p:nvCxnSpPr>
        <p:spPr>
          <a:xfrm flipV="1">
            <a:off x="8995833" y="2336271"/>
            <a:ext cx="0" cy="337344"/>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82" name="Picture 81" descr="government 1.png"/>
          <p:cNvPicPr>
            <a:picLocks noChangeAspect="1"/>
          </p:cNvPicPr>
          <p:nvPr/>
        </p:nvPicPr>
        <p:blipFill>
          <a:blip r:embed="rId25" cstate="print"/>
          <a:srcRect/>
          <a:stretch>
            <a:fillRect/>
          </a:stretch>
        </p:blipFill>
        <p:spPr bwMode="auto">
          <a:xfrm>
            <a:off x="10654771" y="1654969"/>
            <a:ext cx="464344" cy="382323"/>
          </a:xfrm>
          <a:prstGeom prst="rect">
            <a:avLst/>
          </a:prstGeom>
          <a:noFill/>
          <a:ln w="9525">
            <a:noFill/>
            <a:miter lim="800000"/>
            <a:headEnd/>
            <a:tailEnd/>
          </a:ln>
        </p:spPr>
      </p:pic>
      <p:sp>
        <p:nvSpPr>
          <p:cNvPr id="83" name="TextBox 82"/>
          <p:cNvSpPr txBox="1">
            <a:spLocks noChangeArrowheads="1"/>
          </p:cNvSpPr>
          <p:nvPr/>
        </p:nvSpPr>
        <p:spPr bwMode="auto">
          <a:xfrm>
            <a:off x="10673292" y="2114021"/>
            <a:ext cx="850636" cy="255198"/>
          </a:xfrm>
          <a:prstGeom prst="rect">
            <a:avLst/>
          </a:prstGeom>
          <a:noFill/>
          <a:ln w="9525">
            <a:noFill/>
            <a:miter lim="800000"/>
            <a:headEnd/>
            <a:tailEnd/>
          </a:ln>
        </p:spPr>
        <p:txBody>
          <a:bodyPr lIns="91440" tIns="45720" rIns="91440" bIns="45720">
            <a:spAutoFit/>
          </a:bodyPr>
          <a:lstStyle/>
          <a:p>
            <a:pPr algn="ctr">
              <a:lnSpc>
                <a:spcPts val="604"/>
              </a:lnSpc>
            </a:pPr>
            <a:r>
              <a:rPr lang="en-US" sz="833">
                <a:solidFill>
                  <a:srgbClr val="002060"/>
                </a:solidFill>
                <a:cs typeface="Arial" pitchFamily="34" charset="0"/>
              </a:rPr>
              <a:t>Regulatory Agencies</a:t>
            </a:r>
          </a:p>
        </p:txBody>
      </p:sp>
      <p:sp>
        <p:nvSpPr>
          <p:cNvPr id="84" name="TextBox 83"/>
          <p:cNvSpPr txBox="1">
            <a:spLocks noChangeArrowheads="1"/>
          </p:cNvSpPr>
          <p:nvPr/>
        </p:nvSpPr>
        <p:spPr bwMode="auto">
          <a:xfrm>
            <a:off x="10974917" y="1627188"/>
            <a:ext cx="637646" cy="486030"/>
          </a:xfrm>
          <a:prstGeom prst="rect">
            <a:avLst/>
          </a:prstGeom>
          <a:noFill/>
          <a:ln w="9525">
            <a:noFill/>
            <a:miter lim="800000"/>
            <a:headEnd/>
            <a:tailEnd/>
          </a:ln>
        </p:spPr>
        <p:txBody>
          <a:bodyPr lIns="91440" tIns="45720" rIns="91440" bIns="45720">
            <a:spAutoFit/>
          </a:bodyPr>
          <a:lstStyle/>
          <a:p>
            <a:pPr algn="ctr">
              <a:lnSpc>
                <a:spcPts val="604"/>
              </a:lnSpc>
            </a:pPr>
            <a:r>
              <a:rPr lang="en-US" sz="833">
                <a:solidFill>
                  <a:srgbClr val="002060"/>
                </a:solidFill>
                <a:cs typeface="Arial" pitchFamily="34" charset="0"/>
              </a:rPr>
              <a:t>Local,</a:t>
            </a:r>
          </a:p>
          <a:p>
            <a:pPr algn="ctr">
              <a:lnSpc>
                <a:spcPts val="604"/>
              </a:lnSpc>
            </a:pPr>
            <a:r>
              <a:rPr lang="en-US" sz="833">
                <a:solidFill>
                  <a:srgbClr val="002060"/>
                </a:solidFill>
                <a:cs typeface="Arial" pitchFamily="34" charset="0"/>
              </a:rPr>
              <a:t>State,</a:t>
            </a:r>
          </a:p>
          <a:p>
            <a:pPr algn="ctr">
              <a:lnSpc>
                <a:spcPts val="604"/>
              </a:lnSpc>
            </a:pPr>
            <a:r>
              <a:rPr lang="en-US" sz="833">
                <a:solidFill>
                  <a:srgbClr val="002060"/>
                </a:solidFill>
                <a:cs typeface="Arial" pitchFamily="34" charset="0"/>
              </a:rPr>
              <a:t>Federal,</a:t>
            </a:r>
          </a:p>
          <a:p>
            <a:pPr algn="ctr">
              <a:lnSpc>
                <a:spcPts val="604"/>
              </a:lnSpc>
            </a:pPr>
            <a:r>
              <a:rPr lang="en-US" sz="833">
                <a:solidFill>
                  <a:srgbClr val="002060"/>
                </a:solidFill>
                <a:cs typeface="Arial" pitchFamily="34" charset="0"/>
              </a:rPr>
              <a:t>Tax, </a:t>
            </a:r>
          </a:p>
          <a:p>
            <a:pPr algn="ctr">
              <a:lnSpc>
                <a:spcPts val="604"/>
              </a:lnSpc>
            </a:pPr>
            <a:r>
              <a:rPr lang="en-US" sz="833">
                <a:solidFill>
                  <a:srgbClr val="002060"/>
                </a:solidFill>
                <a:cs typeface="Arial" pitchFamily="34" charset="0"/>
              </a:rPr>
              <a:t>Etc.</a:t>
            </a:r>
          </a:p>
        </p:txBody>
      </p:sp>
      <p:sp>
        <p:nvSpPr>
          <p:cNvPr id="85" name="TextBox 84"/>
          <p:cNvSpPr txBox="1">
            <a:spLocks noChangeArrowheads="1"/>
          </p:cNvSpPr>
          <p:nvPr/>
        </p:nvSpPr>
        <p:spPr bwMode="auto">
          <a:xfrm>
            <a:off x="10666678" y="2006866"/>
            <a:ext cx="850635" cy="178254"/>
          </a:xfrm>
          <a:prstGeom prst="rect">
            <a:avLst/>
          </a:prstGeom>
          <a:noFill/>
          <a:ln w="9525">
            <a:noFill/>
            <a:miter lim="800000"/>
            <a:headEnd/>
            <a:tailEnd/>
          </a:ln>
        </p:spPr>
        <p:txBody>
          <a:bodyPr lIns="91440" tIns="45720" rIns="91440" bIns="45720">
            <a:spAutoFit/>
          </a:bodyPr>
          <a:lstStyle/>
          <a:p>
            <a:pPr algn="ctr">
              <a:lnSpc>
                <a:spcPts val="604"/>
              </a:lnSpc>
            </a:pPr>
            <a:r>
              <a:rPr lang="en-US" sz="833">
                <a:solidFill>
                  <a:srgbClr val="002060"/>
                </a:solidFill>
                <a:cs typeface="Arial" pitchFamily="34" charset="0"/>
              </a:rPr>
              <a:t>Environmental</a:t>
            </a:r>
          </a:p>
        </p:txBody>
      </p:sp>
      <p:cxnSp>
        <p:nvCxnSpPr>
          <p:cNvPr id="86" name="Straight Connector 85"/>
          <p:cNvCxnSpPr>
            <a:stCxn id="18" idx="7"/>
            <a:endCxn id="77" idx="2"/>
          </p:cNvCxnSpPr>
          <p:nvPr/>
        </p:nvCxnSpPr>
        <p:spPr>
          <a:xfrm flipV="1">
            <a:off x="10056213" y="2293814"/>
            <a:ext cx="3908" cy="466512"/>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11119115" y="2336271"/>
            <a:ext cx="0" cy="511969"/>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88" name="Picture 87" descr="Report 3.png"/>
          <p:cNvPicPr>
            <a:picLocks noChangeAspect="1"/>
          </p:cNvPicPr>
          <p:nvPr/>
        </p:nvPicPr>
        <p:blipFill>
          <a:blip r:embed="rId26" cstate="print"/>
          <a:srcRect/>
          <a:stretch>
            <a:fillRect/>
          </a:stretch>
        </p:blipFill>
        <p:spPr bwMode="auto">
          <a:xfrm>
            <a:off x="1145646" y="2607469"/>
            <a:ext cx="337344" cy="337343"/>
          </a:xfrm>
          <a:prstGeom prst="rect">
            <a:avLst/>
          </a:prstGeom>
          <a:noFill/>
          <a:ln w="9525">
            <a:noFill/>
            <a:miter lim="800000"/>
            <a:headEnd/>
            <a:tailEnd/>
          </a:ln>
        </p:spPr>
      </p:pic>
      <p:pic>
        <p:nvPicPr>
          <p:cNvPr id="89" name="Picture 88" descr="Report 3.png"/>
          <p:cNvPicPr>
            <a:picLocks noChangeAspect="1"/>
          </p:cNvPicPr>
          <p:nvPr/>
        </p:nvPicPr>
        <p:blipFill>
          <a:blip r:embed="rId26" cstate="print"/>
          <a:srcRect/>
          <a:stretch>
            <a:fillRect/>
          </a:stretch>
        </p:blipFill>
        <p:spPr bwMode="auto">
          <a:xfrm>
            <a:off x="2514865" y="2510896"/>
            <a:ext cx="338667" cy="337344"/>
          </a:xfrm>
          <a:prstGeom prst="rect">
            <a:avLst/>
          </a:prstGeom>
          <a:noFill/>
          <a:ln w="9525">
            <a:noFill/>
            <a:miter lim="800000"/>
            <a:headEnd/>
            <a:tailEnd/>
          </a:ln>
        </p:spPr>
      </p:pic>
      <p:pic>
        <p:nvPicPr>
          <p:cNvPr id="90" name="Picture 89" descr="Report 3.png"/>
          <p:cNvPicPr>
            <a:picLocks noChangeAspect="1"/>
          </p:cNvPicPr>
          <p:nvPr/>
        </p:nvPicPr>
        <p:blipFill>
          <a:blip r:embed="rId26" cstate="print"/>
          <a:srcRect/>
          <a:stretch>
            <a:fillRect/>
          </a:stretch>
        </p:blipFill>
        <p:spPr bwMode="auto">
          <a:xfrm>
            <a:off x="9358313" y="2533386"/>
            <a:ext cx="337344" cy="337343"/>
          </a:xfrm>
          <a:prstGeom prst="rect">
            <a:avLst/>
          </a:prstGeom>
          <a:noFill/>
          <a:ln w="9525">
            <a:noFill/>
            <a:miter lim="800000"/>
            <a:headEnd/>
            <a:tailEnd/>
          </a:ln>
        </p:spPr>
      </p:pic>
      <p:pic>
        <p:nvPicPr>
          <p:cNvPr id="91" name="Picture 90" descr="Report 3.png"/>
          <p:cNvPicPr>
            <a:picLocks noChangeAspect="1"/>
          </p:cNvPicPr>
          <p:nvPr/>
        </p:nvPicPr>
        <p:blipFill>
          <a:blip r:embed="rId26" cstate="print"/>
          <a:srcRect/>
          <a:stretch>
            <a:fillRect/>
          </a:stretch>
        </p:blipFill>
        <p:spPr bwMode="auto">
          <a:xfrm>
            <a:off x="10448396" y="2607469"/>
            <a:ext cx="338667" cy="338667"/>
          </a:xfrm>
          <a:prstGeom prst="rect">
            <a:avLst/>
          </a:prstGeom>
          <a:noFill/>
          <a:ln w="9525">
            <a:noFill/>
            <a:miter lim="800000"/>
            <a:headEnd/>
            <a:tailEnd/>
          </a:ln>
        </p:spPr>
      </p:pic>
      <p:pic>
        <p:nvPicPr>
          <p:cNvPr id="92" name="Picture 91" descr="Report 3.png"/>
          <p:cNvPicPr>
            <a:picLocks noChangeAspect="1"/>
          </p:cNvPicPr>
          <p:nvPr/>
        </p:nvPicPr>
        <p:blipFill>
          <a:blip r:embed="rId26" cstate="print"/>
          <a:srcRect/>
          <a:stretch>
            <a:fillRect/>
          </a:stretch>
        </p:blipFill>
        <p:spPr bwMode="auto">
          <a:xfrm>
            <a:off x="3656542" y="2510896"/>
            <a:ext cx="337344" cy="337344"/>
          </a:xfrm>
          <a:prstGeom prst="rect">
            <a:avLst/>
          </a:prstGeom>
          <a:noFill/>
          <a:ln w="9525">
            <a:noFill/>
            <a:miter lim="800000"/>
            <a:headEnd/>
            <a:tailEnd/>
          </a:ln>
        </p:spPr>
      </p:pic>
      <p:sp>
        <p:nvSpPr>
          <p:cNvPr id="93" name="TextBox 92"/>
          <p:cNvSpPr txBox="1">
            <a:spLocks noChangeArrowheads="1"/>
          </p:cNvSpPr>
          <p:nvPr/>
        </p:nvSpPr>
        <p:spPr bwMode="auto">
          <a:xfrm>
            <a:off x="873125" y="2390511"/>
            <a:ext cx="879740" cy="271934"/>
          </a:xfrm>
          <a:prstGeom prst="rect">
            <a:avLst/>
          </a:prstGeom>
          <a:noFill/>
          <a:ln w="9525">
            <a:noFill/>
            <a:miter lim="800000"/>
            <a:headEnd/>
            <a:tailEnd/>
          </a:ln>
        </p:spPr>
        <p:txBody>
          <a:bodyPr lIns="91440" tIns="45720" rIns="91440" bIns="45720">
            <a:spAutoFit/>
          </a:bodyPr>
          <a:lstStyle/>
          <a:p>
            <a:pPr algn="ctr"/>
            <a:r>
              <a:rPr lang="en-US" sz="1167">
                <a:solidFill>
                  <a:srgbClr val="002060"/>
                </a:solidFill>
                <a:cs typeface="Arial" pitchFamily="34" charset="0"/>
              </a:rPr>
              <a:t>Assays</a:t>
            </a:r>
          </a:p>
        </p:txBody>
      </p:sp>
      <p:sp>
        <p:nvSpPr>
          <p:cNvPr id="94" name="TextBox 93"/>
          <p:cNvSpPr txBox="1">
            <a:spLocks noChangeArrowheads="1"/>
          </p:cNvSpPr>
          <p:nvPr/>
        </p:nvSpPr>
        <p:spPr bwMode="auto">
          <a:xfrm>
            <a:off x="9065949" y="2313782"/>
            <a:ext cx="879739" cy="271934"/>
          </a:xfrm>
          <a:prstGeom prst="rect">
            <a:avLst/>
          </a:prstGeom>
          <a:noFill/>
          <a:ln w="9525">
            <a:noFill/>
            <a:miter lim="800000"/>
            <a:headEnd/>
            <a:tailEnd/>
          </a:ln>
        </p:spPr>
        <p:txBody>
          <a:bodyPr lIns="91440" tIns="45720" rIns="91440" bIns="45720">
            <a:spAutoFit/>
          </a:bodyPr>
          <a:lstStyle/>
          <a:p>
            <a:pPr algn="ctr"/>
            <a:r>
              <a:rPr lang="en-US" sz="1167">
                <a:solidFill>
                  <a:srgbClr val="002060"/>
                </a:solidFill>
                <a:cs typeface="Arial" pitchFamily="34" charset="0"/>
              </a:rPr>
              <a:t>Customs</a:t>
            </a:r>
          </a:p>
        </p:txBody>
      </p:sp>
      <p:sp>
        <p:nvSpPr>
          <p:cNvPr id="95" name="TextBox 94"/>
          <p:cNvSpPr txBox="1">
            <a:spLocks noChangeArrowheads="1"/>
          </p:cNvSpPr>
          <p:nvPr/>
        </p:nvSpPr>
        <p:spPr bwMode="auto">
          <a:xfrm>
            <a:off x="10157354" y="2397125"/>
            <a:ext cx="879740" cy="271934"/>
          </a:xfrm>
          <a:prstGeom prst="rect">
            <a:avLst/>
          </a:prstGeom>
          <a:noFill/>
          <a:ln w="9525">
            <a:noFill/>
            <a:miter lim="800000"/>
            <a:headEnd/>
            <a:tailEnd/>
          </a:ln>
        </p:spPr>
        <p:txBody>
          <a:bodyPr lIns="91440" tIns="45720" rIns="91440" bIns="45720">
            <a:spAutoFit/>
          </a:bodyPr>
          <a:lstStyle/>
          <a:p>
            <a:pPr algn="ctr"/>
            <a:r>
              <a:rPr lang="en-US" sz="1167">
                <a:solidFill>
                  <a:srgbClr val="002060"/>
                </a:solidFill>
                <a:cs typeface="Arial" pitchFamily="34" charset="0"/>
              </a:rPr>
              <a:t>Filings</a:t>
            </a:r>
          </a:p>
        </p:txBody>
      </p:sp>
      <p:sp>
        <p:nvSpPr>
          <p:cNvPr id="96" name="TextBox 95"/>
          <p:cNvSpPr txBox="1">
            <a:spLocks noChangeArrowheads="1"/>
          </p:cNvSpPr>
          <p:nvPr/>
        </p:nvSpPr>
        <p:spPr bwMode="auto">
          <a:xfrm>
            <a:off x="2178844" y="2307167"/>
            <a:ext cx="992188"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Certificates</a:t>
            </a:r>
          </a:p>
        </p:txBody>
      </p:sp>
      <p:sp>
        <p:nvSpPr>
          <p:cNvPr id="97" name="TextBox 96"/>
          <p:cNvSpPr txBox="1">
            <a:spLocks noChangeArrowheads="1"/>
          </p:cNvSpPr>
          <p:nvPr/>
        </p:nvSpPr>
        <p:spPr bwMode="auto">
          <a:xfrm>
            <a:off x="3238500" y="2288646"/>
            <a:ext cx="1164167" cy="271934"/>
          </a:xfrm>
          <a:prstGeom prst="rect">
            <a:avLst/>
          </a:prstGeom>
          <a:noFill/>
          <a:ln w="9525">
            <a:noFill/>
            <a:miter lim="800000"/>
            <a:headEnd/>
            <a:tailEnd/>
          </a:ln>
        </p:spPr>
        <p:txBody>
          <a:bodyPr lIns="91440" tIns="45720" rIns="91440" bIns="45720">
            <a:spAutoFit/>
          </a:bodyPr>
          <a:lstStyle/>
          <a:p>
            <a:pPr algn="ctr"/>
            <a:r>
              <a:rPr lang="en-US" sz="1167">
                <a:solidFill>
                  <a:srgbClr val="002060"/>
                </a:solidFill>
                <a:cs typeface="Arial" pitchFamily="34" charset="0"/>
              </a:rPr>
              <a:t>Bill of Lading</a:t>
            </a:r>
          </a:p>
        </p:txBody>
      </p:sp>
      <p:sp>
        <p:nvSpPr>
          <p:cNvPr id="98" name="Can 97"/>
          <p:cNvSpPr/>
          <p:nvPr/>
        </p:nvSpPr>
        <p:spPr>
          <a:xfrm>
            <a:off x="1182688" y="924719"/>
            <a:ext cx="501386" cy="486833"/>
          </a:xfrm>
          <a:prstGeom prst="ca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sz="917" b="1" dirty="0">
                <a:solidFill>
                  <a:schemeClr val="bg1"/>
                </a:solidFill>
                <a:latin typeface="Arial" pitchFamily="34" charset="0"/>
                <a:cs typeface="Arial" pitchFamily="34" charset="0"/>
              </a:rPr>
              <a:t> Geo</a:t>
            </a:r>
          </a:p>
          <a:p>
            <a:pPr algn="ctr">
              <a:defRPr/>
            </a:pPr>
            <a:r>
              <a:rPr lang="en-US" sz="917" b="1" dirty="0">
                <a:solidFill>
                  <a:schemeClr val="bg1"/>
                </a:solidFill>
                <a:latin typeface="Arial" pitchFamily="34" charset="0"/>
                <a:cs typeface="Arial" pitchFamily="34" charset="0"/>
              </a:rPr>
              <a:t>Sys</a:t>
            </a:r>
          </a:p>
        </p:txBody>
      </p:sp>
      <p:sp>
        <p:nvSpPr>
          <p:cNvPr id="99" name="Can 98"/>
          <p:cNvSpPr/>
          <p:nvPr/>
        </p:nvSpPr>
        <p:spPr>
          <a:xfrm>
            <a:off x="2587625" y="1045104"/>
            <a:ext cx="502708" cy="488157"/>
          </a:xfrm>
          <a:prstGeom prst="ca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sz="833" b="1" dirty="0">
                <a:solidFill>
                  <a:schemeClr val="bg1"/>
                </a:solidFill>
                <a:latin typeface="Arial" pitchFamily="34" charset="0"/>
                <a:cs typeface="Arial" pitchFamily="34" charset="0"/>
              </a:rPr>
              <a:t>Source Sys</a:t>
            </a:r>
          </a:p>
        </p:txBody>
      </p:sp>
      <p:sp>
        <p:nvSpPr>
          <p:cNvPr id="100" name="Can 99"/>
          <p:cNvSpPr/>
          <p:nvPr/>
        </p:nvSpPr>
        <p:spPr>
          <a:xfrm>
            <a:off x="2374636" y="1148292"/>
            <a:ext cx="501385" cy="488157"/>
          </a:xfrm>
          <a:prstGeom prst="ca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sz="833" b="1" dirty="0">
                <a:solidFill>
                  <a:schemeClr val="bg1"/>
                </a:solidFill>
                <a:latin typeface="Arial" pitchFamily="34" charset="0"/>
                <a:cs typeface="Arial" pitchFamily="34" charset="0"/>
              </a:rPr>
              <a:t>Source Sys</a:t>
            </a:r>
          </a:p>
        </p:txBody>
      </p:sp>
      <p:pic>
        <p:nvPicPr>
          <p:cNvPr id="101" name="Picture 100" descr="Cognitive1.png"/>
          <p:cNvPicPr>
            <a:picLocks noChangeAspect="1"/>
          </p:cNvPicPr>
          <p:nvPr/>
        </p:nvPicPr>
        <p:blipFill>
          <a:blip r:embed="rId27" cstate="print"/>
          <a:srcRect/>
          <a:stretch>
            <a:fillRect/>
          </a:stretch>
        </p:blipFill>
        <p:spPr bwMode="auto">
          <a:xfrm>
            <a:off x="3665803" y="1100667"/>
            <a:ext cx="986896" cy="986896"/>
          </a:xfrm>
          <a:prstGeom prst="rect">
            <a:avLst/>
          </a:prstGeom>
          <a:noFill/>
          <a:ln w="9525">
            <a:noFill/>
            <a:miter lim="800000"/>
            <a:headEnd/>
            <a:tailEnd/>
          </a:ln>
        </p:spPr>
      </p:pic>
      <p:cxnSp>
        <p:nvCxnSpPr>
          <p:cNvPr id="102" name="Straight Arrow Connector 101"/>
          <p:cNvCxnSpPr/>
          <p:nvPr/>
        </p:nvCxnSpPr>
        <p:spPr>
          <a:xfrm flipH="1">
            <a:off x="910167" y="1654969"/>
            <a:ext cx="2848240" cy="0"/>
          </a:xfrm>
          <a:prstGeom prst="straightConnector1">
            <a:avLst/>
          </a:prstGeom>
          <a:ln w="12700">
            <a:solidFill>
              <a:schemeClr val="bg1">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2309813" y="1980407"/>
            <a:ext cx="1448594" cy="0"/>
          </a:xfrm>
          <a:prstGeom prst="straightConnector1">
            <a:avLst/>
          </a:prstGeom>
          <a:ln w="12700">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Can 103"/>
          <p:cNvSpPr/>
          <p:nvPr/>
        </p:nvSpPr>
        <p:spPr>
          <a:xfrm>
            <a:off x="1783292" y="1713178"/>
            <a:ext cx="502708" cy="488156"/>
          </a:xfrm>
          <a:prstGeom prst="ca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sz="917" b="1" dirty="0">
                <a:solidFill>
                  <a:schemeClr val="bg1"/>
                </a:solidFill>
                <a:latin typeface="Arial" pitchFamily="34" charset="0"/>
                <a:cs typeface="Arial" pitchFamily="34" charset="0"/>
              </a:rPr>
              <a:t>Data Lake</a:t>
            </a:r>
          </a:p>
        </p:txBody>
      </p:sp>
      <p:cxnSp>
        <p:nvCxnSpPr>
          <p:cNvPr id="105" name="Straight Connector 104"/>
          <p:cNvCxnSpPr/>
          <p:nvPr/>
        </p:nvCxnSpPr>
        <p:spPr>
          <a:xfrm>
            <a:off x="719667" y="1882511"/>
            <a:ext cx="0" cy="990864"/>
          </a:xfrm>
          <a:prstGeom prst="line">
            <a:avLst/>
          </a:prstGeom>
          <a:ln w="12700">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Can 105"/>
          <p:cNvSpPr/>
          <p:nvPr/>
        </p:nvSpPr>
        <p:spPr>
          <a:xfrm>
            <a:off x="469636" y="1378479"/>
            <a:ext cx="502708" cy="486833"/>
          </a:xfrm>
          <a:prstGeom prst="can">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en-US" sz="917" b="1" dirty="0">
                <a:solidFill>
                  <a:schemeClr val="bg1"/>
                </a:solidFill>
                <a:latin typeface="Arial" pitchFamily="34" charset="0"/>
                <a:cs typeface="Arial" pitchFamily="34" charset="0"/>
              </a:rPr>
              <a:t> ERP</a:t>
            </a:r>
          </a:p>
        </p:txBody>
      </p:sp>
      <p:cxnSp>
        <p:nvCxnSpPr>
          <p:cNvPr id="107" name="Straight Connector 106"/>
          <p:cNvCxnSpPr/>
          <p:nvPr/>
        </p:nvCxnSpPr>
        <p:spPr>
          <a:xfrm>
            <a:off x="2022740" y="2201334"/>
            <a:ext cx="0" cy="558271"/>
          </a:xfrm>
          <a:prstGeom prst="line">
            <a:avLst/>
          </a:prstGeom>
          <a:ln w="12700">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TextBox 107"/>
          <p:cNvSpPr txBox="1">
            <a:spLocks noChangeArrowheads="1"/>
          </p:cNvSpPr>
          <p:nvPr/>
        </p:nvSpPr>
        <p:spPr bwMode="auto">
          <a:xfrm>
            <a:off x="6562258" y="2092855"/>
            <a:ext cx="665568" cy="277640"/>
          </a:xfrm>
          <a:prstGeom prst="rect">
            <a:avLst/>
          </a:prstGeom>
          <a:noFill/>
          <a:ln w="9525">
            <a:noFill/>
            <a:miter lim="800000"/>
            <a:headEnd/>
            <a:tailEnd/>
          </a:ln>
        </p:spPr>
        <p:txBody>
          <a:bodyPr wrap="none" lIns="91440" tIns="45720" rIns="91440" bIns="45720">
            <a:spAutoFit/>
          </a:bodyPr>
          <a:lstStyle/>
          <a:p>
            <a:pPr algn="ctr">
              <a:lnSpc>
                <a:spcPts val="698"/>
              </a:lnSpc>
            </a:pPr>
            <a:r>
              <a:rPr lang="en-US" sz="833">
                <a:solidFill>
                  <a:srgbClr val="002060"/>
                </a:solidFill>
                <a:cs typeface="Arial" pitchFamily="34" charset="0"/>
              </a:rPr>
              <a:t>Logistics </a:t>
            </a:r>
          </a:p>
          <a:p>
            <a:pPr algn="ctr">
              <a:lnSpc>
                <a:spcPts val="698"/>
              </a:lnSpc>
            </a:pPr>
            <a:r>
              <a:rPr lang="en-US" sz="833">
                <a:solidFill>
                  <a:srgbClr val="002060"/>
                </a:solidFill>
                <a:cs typeface="Arial" pitchFamily="34" charset="0"/>
              </a:rPr>
              <a:t>Companies</a:t>
            </a:r>
          </a:p>
        </p:txBody>
      </p:sp>
      <p:sp>
        <p:nvSpPr>
          <p:cNvPr id="109" name="Rounded Rectangle 108"/>
          <p:cNvSpPr/>
          <p:nvPr/>
        </p:nvSpPr>
        <p:spPr>
          <a:xfrm>
            <a:off x="6470386" y="1621896"/>
            <a:ext cx="873125" cy="693208"/>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sz="1500" dirty="0"/>
              <a:t> </a:t>
            </a:r>
          </a:p>
        </p:txBody>
      </p:sp>
      <p:pic>
        <p:nvPicPr>
          <p:cNvPr id="110" name="Picture 109" descr="airplane.png"/>
          <p:cNvPicPr>
            <a:picLocks noChangeAspect="1"/>
          </p:cNvPicPr>
          <p:nvPr/>
        </p:nvPicPr>
        <p:blipFill>
          <a:blip r:embed="rId28" cstate="print"/>
          <a:srcRect/>
          <a:stretch>
            <a:fillRect/>
          </a:stretch>
        </p:blipFill>
        <p:spPr bwMode="auto">
          <a:xfrm>
            <a:off x="6889750" y="1549136"/>
            <a:ext cx="398198" cy="399521"/>
          </a:xfrm>
          <a:prstGeom prst="rect">
            <a:avLst/>
          </a:prstGeom>
          <a:noFill/>
          <a:ln w="9525">
            <a:noFill/>
            <a:miter lim="800000"/>
            <a:headEnd/>
            <a:tailEnd/>
          </a:ln>
        </p:spPr>
      </p:pic>
      <p:pic>
        <p:nvPicPr>
          <p:cNvPr id="111" name="Picture 110" descr="truck 4.png"/>
          <p:cNvPicPr>
            <a:picLocks noChangeAspect="1"/>
          </p:cNvPicPr>
          <p:nvPr/>
        </p:nvPicPr>
        <p:blipFill>
          <a:blip r:embed="rId29" cstate="print"/>
          <a:srcRect/>
          <a:stretch>
            <a:fillRect/>
          </a:stretch>
        </p:blipFill>
        <p:spPr bwMode="auto">
          <a:xfrm>
            <a:off x="6421438" y="1500188"/>
            <a:ext cx="502708" cy="502708"/>
          </a:xfrm>
          <a:prstGeom prst="rect">
            <a:avLst/>
          </a:prstGeom>
          <a:noFill/>
          <a:ln w="9525">
            <a:noFill/>
            <a:miter lim="800000"/>
            <a:headEnd/>
            <a:tailEnd/>
          </a:ln>
        </p:spPr>
      </p:pic>
      <p:pic>
        <p:nvPicPr>
          <p:cNvPr id="112" name="Picture 111" descr="Helicoptor.png"/>
          <p:cNvPicPr>
            <a:picLocks noChangeAspect="1"/>
          </p:cNvPicPr>
          <p:nvPr/>
        </p:nvPicPr>
        <p:blipFill>
          <a:blip r:embed="rId30" cstate="print"/>
          <a:srcRect/>
          <a:stretch>
            <a:fillRect/>
          </a:stretch>
        </p:blipFill>
        <p:spPr bwMode="auto">
          <a:xfrm>
            <a:off x="6682053" y="1774032"/>
            <a:ext cx="416718" cy="416718"/>
          </a:xfrm>
          <a:prstGeom prst="rect">
            <a:avLst/>
          </a:prstGeom>
          <a:noFill/>
          <a:ln w="9525">
            <a:noFill/>
            <a:miter lim="800000"/>
            <a:headEnd/>
            <a:tailEnd/>
          </a:ln>
        </p:spPr>
      </p:pic>
      <p:pic>
        <p:nvPicPr>
          <p:cNvPr id="113" name="Picture 112" descr="Security officer.png"/>
          <p:cNvPicPr>
            <a:picLocks noChangeAspect="1"/>
          </p:cNvPicPr>
          <p:nvPr/>
        </p:nvPicPr>
        <p:blipFill>
          <a:blip r:embed="rId31" cstate="print"/>
          <a:srcRect/>
          <a:stretch>
            <a:fillRect/>
          </a:stretch>
        </p:blipFill>
        <p:spPr bwMode="auto">
          <a:xfrm>
            <a:off x="7047178" y="1866636"/>
            <a:ext cx="277813" cy="277813"/>
          </a:xfrm>
          <a:prstGeom prst="rect">
            <a:avLst/>
          </a:prstGeom>
          <a:noFill/>
          <a:ln w="9525">
            <a:noFill/>
            <a:miter lim="800000"/>
            <a:headEnd/>
            <a:tailEnd/>
          </a:ln>
        </p:spPr>
      </p:pic>
      <p:sp>
        <p:nvSpPr>
          <p:cNvPr id="114" name="Rounded Rectangle 113"/>
          <p:cNvSpPr/>
          <p:nvPr/>
        </p:nvSpPr>
        <p:spPr>
          <a:xfrm>
            <a:off x="7522104" y="1628511"/>
            <a:ext cx="873125" cy="693208"/>
          </a:xfrm>
          <a:prstGeom prst="roundRect">
            <a:avLst/>
          </a:prstGeom>
          <a:no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1500" dirty="0">
              <a:solidFill>
                <a:srgbClr val="002060"/>
              </a:solidFill>
            </a:endParaRPr>
          </a:p>
        </p:txBody>
      </p:sp>
      <p:sp>
        <p:nvSpPr>
          <p:cNvPr id="115" name="TextBox 114"/>
          <p:cNvSpPr txBox="1">
            <a:spLocks noChangeArrowheads="1"/>
          </p:cNvSpPr>
          <p:nvPr/>
        </p:nvSpPr>
        <p:spPr bwMode="auto">
          <a:xfrm>
            <a:off x="7522105" y="2129896"/>
            <a:ext cx="875771" cy="277640"/>
          </a:xfrm>
          <a:prstGeom prst="rect">
            <a:avLst/>
          </a:prstGeom>
          <a:noFill/>
          <a:ln w="9525">
            <a:noFill/>
            <a:miter lim="800000"/>
            <a:headEnd/>
            <a:tailEnd/>
          </a:ln>
        </p:spPr>
        <p:txBody>
          <a:bodyPr lIns="91440" tIns="45720" rIns="91440" bIns="45720">
            <a:spAutoFit/>
          </a:bodyPr>
          <a:lstStyle/>
          <a:p>
            <a:pPr algn="ctr">
              <a:lnSpc>
                <a:spcPts val="698"/>
              </a:lnSpc>
            </a:pPr>
            <a:r>
              <a:rPr lang="en-US" sz="833">
                <a:solidFill>
                  <a:srgbClr val="002060"/>
                </a:solidFill>
                <a:cs typeface="Arial" pitchFamily="34" charset="0"/>
              </a:rPr>
              <a:t>Refineries  / Smelters </a:t>
            </a:r>
          </a:p>
        </p:txBody>
      </p:sp>
      <p:pic>
        <p:nvPicPr>
          <p:cNvPr id="116" name="Picture 115" descr="gold refinery.png"/>
          <p:cNvPicPr>
            <a:picLocks noChangeAspect="1"/>
          </p:cNvPicPr>
          <p:nvPr/>
        </p:nvPicPr>
        <p:blipFill>
          <a:blip r:embed="rId32" cstate="print"/>
          <a:srcRect/>
          <a:stretch>
            <a:fillRect/>
          </a:stretch>
        </p:blipFill>
        <p:spPr bwMode="auto">
          <a:xfrm>
            <a:off x="7698053" y="1625865"/>
            <a:ext cx="518583" cy="517260"/>
          </a:xfrm>
          <a:prstGeom prst="rect">
            <a:avLst/>
          </a:prstGeom>
          <a:noFill/>
          <a:ln w="9525">
            <a:noFill/>
            <a:miter lim="800000"/>
            <a:headEnd/>
            <a:tailEnd/>
          </a:ln>
        </p:spPr>
      </p:pic>
      <p:cxnSp>
        <p:nvCxnSpPr>
          <p:cNvPr id="117" name="Straight Connector 116"/>
          <p:cNvCxnSpPr/>
          <p:nvPr/>
        </p:nvCxnSpPr>
        <p:spPr>
          <a:xfrm flipV="1">
            <a:off x="7978511" y="2341562"/>
            <a:ext cx="0" cy="338667"/>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V="1">
            <a:off x="6900333" y="2346854"/>
            <a:ext cx="0" cy="306917"/>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19" name="Picture 118" descr="Report 3.png"/>
          <p:cNvPicPr>
            <a:picLocks noChangeAspect="1"/>
          </p:cNvPicPr>
          <p:nvPr/>
        </p:nvPicPr>
        <p:blipFill>
          <a:blip r:embed="rId26" cstate="print"/>
          <a:srcRect/>
          <a:stretch>
            <a:fillRect/>
          </a:stretch>
        </p:blipFill>
        <p:spPr bwMode="auto">
          <a:xfrm>
            <a:off x="8290719" y="2501636"/>
            <a:ext cx="337343" cy="337343"/>
          </a:xfrm>
          <a:prstGeom prst="rect">
            <a:avLst/>
          </a:prstGeom>
          <a:noFill/>
          <a:ln w="9525">
            <a:noFill/>
            <a:miter lim="800000"/>
            <a:headEnd/>
            <a:tailEnd/>
          </a:ln>
        </p:spPr>
      </p:pic>
      <p:sp>
        <p:nvSpPr>
          <p:cNvPr id="120" name="TextBox 119"/>
          <p:cNvSpPr txBox="1">
            <a:spLocks noChangeArrowheads="1"/>
          </p:cNvSpPr>
          <p:nvPr/>
        </p:nvSpPr>
        <p:spPr bwMode="auto">
          <a:xfrm>
            <a:off x="8008938" y="2282032"/>
            <a:ext cx="879740"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Contracts</a:t>
            </a:r>
          </a:p>
        </p:txBody>
      </p:sp>
      <p:pic>
        <p:nvPicPr>
          <p:cNvPr id="121" name="Picture 120" descr="wifi 3.png"/>
          <p:cNvPicPr>
            <a:picLocks noChangeAspect="1"/>
          </p:cNvPicPr>
          <p:nvPr/>
        </p:nvPicPr>
        <p:blipFill>
          <a:blip r:embed="rId33" cstate="print"/>
          <a:srcRect/>
          <a:stretch>
            <a:fillRect/>
          </a:stretch>
        </p:blipFill>
        <p:spPr bwMode="auto">
          <a:xfrm>
            <a:off x="1270000" y="5457032"/>
            <a:ext cx="296333" cy="295010"/>
          </a:xfrm>
          <a:prstGeom prst="rect">
            <a:avLst/>
          </a:prstGeom>
          <a:noFill/>
          <a:ln w="9525">
            <a:noFill/>
            <a:miter lim="800000"/>
            <a:headEnd/>
            <a:tailEnd/>
          </a:ln>
        </p:spPr>
      </p:pic>
      <p:pic>
        <p:nvPicPr>
          <p:cNvPr id="122" name="Picture 121" descr="wifi 3.png"/>
          <p:cNvPicPr>
            <a:picLocks noChangeAspect="1"/>
          </p:cNvPicPr>
          <p:nvPr/>
        </p:nvPicPr>
        <p:blipFill>
          <a:blip r:embed="rId33" cstate="print"/>
          <a:srcRect/>
          <a:stretch>
            <a:fillRect/>
          </a:stretch>
        </p:blipFill>
        <p:spPr bwMode="auto">
          <a:xfrm>
            <a:off x="3259667" y="5584032"/>
            <a:ext cx="296333" cy="295010"/>
          </a:xfrm>
          <a:prstGeom prst="rect">
            <a:avLst/>
          </a:prstGeom>
          <a:noFill/>
          <a:ln w="9525">
            <a:noFill/>
            <a:miter lim="800000"/>
            <a:headEnd/>
            <a:tailEnd/>
          </a:ln>
        </p:spPr>
      </p:pic>
      <p:pic>
        <p:nvPicPr>
          <p:cNvPr id="123" name="Picture 122" descr="wifi 3.png"/>
          <p:cNvPicPr>
            <a:picLocks noChangeAspect="1"/>
          </p:cNvPicPr>
          <p:nvPr/>
        </p:nvPicPr>
        <p:blipFill>
          <a:blip r:embed="rId33" cstate="print"/>
          <a:srcRect/>
          <a:stretch>
            <a:fillRect/>
          </a:stretch>
        </p:blipFill>
        <p:spPr bwMode="auto">
          <a:xfrm>
            <a:off x="4445000" y="5434542"/>
            <a:ext cx="296333" cy="296333"/>
          </a:xfrm>
          <a:prstGeom prst="rect">
            <a:avLst/>
          </a:prstGeom>
          <a:noFill/>
          <a:ln w="9525">
            <a:noFill/>
            <a:miter lim="800000"/>
            <a:headEnd/>
            <a:tailEnd/>
          </a:ln>
        </p:spPr>
      </p:pic>
      <p:pic>
        <p:nvPicPr>
          <p:cNvPr id="124" name="Picture 123" descr="wifi 3.png"/>
          <p:cNvPicPr>
            <a:picLocks noChangeAspect="1"/>
          </p:cNvPicPr>
          <p:nvPr/>
        </p:nvPicPr>
        <p:blipFill>
          <a:blip r:embed="rId33" cstate="print"/>
          <a:srcRect/>
          <a:stretch>
            <a:fillRect/>
          </a:stretch>
        </p:blipFill>
        <p:spPr bwMode="auto">
          <a:xfrm>
            <a:off x="5228167" y="5180542"/>
            <a:ext cx="296333" cy="296333"/>
          </a:xfrm>
          <a:prstGeom prst="rect">
            <a:avLst/>
          </a:prstGeom>
          <a:noFill/>
          <a:ln w="9525">
            <a:noFill/>
            <a:miter lim="800000"/>
            <a:headEnd/>
            <a:tailEnd/>
          </a:ln>
        </p:spPr>
      </p:pic>
      <p:pic>
        <p:nvPicPr>
          <p:cNvPr id="125" name="Picture 124" descr="wifi 3.png"/>
          <p:cNvPicPr>
            <a:picLocks noChangeAspect="1"/>
          </p:cNvPicPr>
          <p:nvPr/>
        </p:nvPicPr>
        <p:blipFill>
          <a:blip r:embed="rId33" cstate="print"/>
          <a:srcRect/>
          <a:stretch>
            <a:fillRect/>
          </a:stretch>
        </p:blipFill>
        <p:spPr bwMode="auto">
          <a:xfrm>
            <a:off x="6299729" y="5077354"/>
            <a:ext cx="296333" cy="296333"/>
          </a:xfrm>
          <a:prstGeom prst="rect">
            <a:avLst/>
          </a:prstGeom>
          <a:noFill/>
          <a:ln w="9525">
            <a:noFill/>
            <a:miter lim="800000"/>
            <a:headEnd/>
            <a:tailEnd/>
          </a:ln>
        </p:spPr>
      </p:pic>
      <p:pic>
        <p:nvPicPr>
          <p:cNvPr id="126" name="Picture 125" descr="wifi 3.png"/>
          <p:cNvPicPr>
            <a:picLocks noChangeAspect="1"/>
          </p:cNvPicPr>
          <p:nvPr/>
        </p:nvPicPr>
        <p:blipFill>
          <a:blip r:embed="rId33" cstate="print"/>
          <a:srcRect/>
          <a:stretch>
            <a:fillRect/>
          </a:stretch>
        </p:blipFill>
        <p:spPr bwMode="auto">
          <a:xfrm>
            <a:off x="7366000" y="5431896"/>
            <a:ext cx="296333" cy="296333"/>
          </a:xfrm>
          <a:prstGeom prst="rect">
            <a:avLst/>
          </a:prstGeom>
          <a:noFill/>
          <a:ln w="9525">
            <a:noFill/>
            <a:miter lim="800000"/>
            <a:headEnd/>
            <a:tailEnd/>
          </a:ln>
        </p:spPr>
      </p:pic>
      <p:sp>
        <p:nvSpPr>
          <p:cNvPr id="127" name="TextBox 126"/>
          <p:cNvSpPr txBox="1">
            <a:spLocks noChangeArrowheads="1"/>
          </p:cNvSpPr>
          <p:nvPr/>
        </p:nvSpPr>
        <p:spPr bwMode="auto">
          <a:xfrm>
            <a:off x="-3969" y="4071937"/>
            <a:ext cx="763323" cy="631135"/>
          </a:xfrm>
          <a:prstGeom prst="rect">
            <a:avLst/>
          </a:prstGeom>
          <a:solidFill>
            <a:schemeClr val="bg1"/>
          </a:solidFill>
          <a:ln w="9525">
            <a:solidFill>
              <a:schemeClr val="bg1"/>
            </a:solidFill>
            <a:miter lim="800000"/>
            <a:headEnd/>
            <a:tailEnd/>
          </a:ln>
        </p:spPr>
        <p:txBody>
          <a:bodyPr lIns="91440" tIns="45720" rIns="91440" bIns="45720">
            <a:spAutoFit/>
          </a:bodyPr>
          <a:lstStyle/>
          <a:p>
            <a:pPr algn="ctr"/>
            <a:r>
              <a:rPr lang="en-US" sz="1167" dirty="0">
                <a:solidFill>
                  <a:srgbClr val="CC0099"/>
                </a:solidFill>
                <a:cs typeface="Arial" pitchFamily="34" charset="0"/>
              </a:rPr>
              <a:t>IoT Mobile App</a:t>
            </a:r>
          </a:p>
        </p:txBody>
      </p:sp>
      <p:sp>
        <p:nvSpPr>
          <p:cNvPr id="128" name="TextBox 127"/>
          <p:cNvSpPr txBox="1">
            <a:spLocks noChangeArrowheads="1"/>
          </p:cNvSpPr>
          <p:nvPr/>
        </p:nvSpPr>
        <p:spPr bwMode="auto">
          <a:xfrm>
            <a:off x="998803" y="4572000"/>
            <a:ext cx="879739" cy="810735"/>
          </a:xfrm>
          <a:prstGeom prst="rect">
            <a:avLst/>
          </a:prstGeom>
          <a:solidFill>
            <a:schemeClr val="bg1"/>
          </a:solidFill>
          <a:ln w="9525">
            <a:solidFill>
              <a:schemeClr val="bg1"/>
            </a:solidFill>
            <a:miter lim="800000"/>
            <a:headEnd/>
            <a:tailEnd/>
          </a:ln>
        </p:spPr>
        <p:txBody>
          <a:bodyPr lIns="91440" tIns="45720" rIns="91440" bIns="45720">
            <a:spAutoFit/>
          </a:bodyPr>
          <a:lstStyle/>
          <a:p>
            <a:pPr algn="ctr"/>
            <a:r>
              <a:rPr lang="en-US" sz="1167" dirty="0">
                <a:cs typeface="Arial" pitchFamily="34" charset="0"/>
              </a:rPr>
              <a:t>IoT GPS Tracking Sensor Device </a:t>
            </a:r>
          </a:p>
        </p:txBody>
      </p:sp>
      <p:pic>
        <p:nvPicPr>
          <p:cNvPr id="129" name="Picture 128" descr="Report 3.png"/>
          <p:cNvPicPr>
            <a:picLocks noChangeAspect="1"/>
          </p:cNvPicPr>
          <p:nvPr/>
        </p:nvPicPr>
        <p:blipFill>
          <a:blip r:embed="rId26" cstate="print"/>
          <a:srcRect/>
          <a:stretch>
            <a:fillRect/>
          </a:stretch>
        </p:blipFill>
        <p:spPr bwMode="auto">
          <a:xfrm>
            <a:off x="4781021" y="2455334"/>
            <a:ext cx="337344" cy="337343"/>
          </a:xfrm>
          <a:prstGeom prst="rect">
            <a:avLst/>
          </a:prstGeom>
          <a:noFill/>
          <a:ln w="9525">
            <a:noFill/>
            <a:miter lim="800000"/>
            <a:headEnd/>
            <a:tailEnd/>
          </a:ln>
        </p:spPr>
      </p:pic>
      <p:sp>
        <p:nvSpPr>
          <p:cNvPr id="130" name="TextBox 129"/>
          <p:cNvSpPr txBox="1">
            <a:spLocks noChangeArrowheads="1"/>
          </p:cNvSpPr>
          <p:nvPr/>
        </p:nvSpPr>
        <p:spPr bwMode="auto">
          <a:xfrm>
            <a:off x="4508500" y="2238375"/>
            <a:ext cx="879740"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Batch/Lot</a:t>
            </a:r>
          </a:p>
        </p:txBody>
      </p:sp>
      <p:pic>
        <p:nvPicPr>
          <p:cNvPr id="131" name="Picture 130" descr="Report 3.png"/>
          <p:cNvPicPr>
            <a:picLocks noChangeAspect="1"/>
          </p:cNvPicPr>
          <p:nvPr/>
        </p:nvPicPr>
        <p:blipFill>
          <a:blip r:embed="rId26" cstate="print"/>
          <a:srcRect/>
          <a:stretch>
            <a:fillRect/>
          </a:stretch>
        </p:blipFill>
        <p:spPr bwMode="auto">
          <a:xfrm>
            <a:off x="5905501" y="2455334"/>
            <a:ext cx="337344" cy="337343"/>
          </a:xfrm>
          <a:prstGeom prst="rect">
            <a:avLst/>
          </a:prstGeom>
          <a:noFill/>
          <a:ln w="9525">
            <a:noFill/>
            <a:miter lim="800000"/>
            <a:headEnd/>
            <a:tailEnd/>
          </a:ln>
        </p:spPr>
      </p:pic>
      <p:sp>
        <p:nvSpPr>
          <p:cNvPr id="132" name="TextBox 131"/>
          <p:cNvSpPr txBox="1">
            <a:spLocks noChangeArrowheads="1"/>
          </p:cNvSpPr>
          <p:nvPr/>
        </p:nvSpPr>
        <p:spPr bwMode="auto">
          <a:xfrm>
            <a:off x="5533760" y="2238375"/>
            <a:ext cx="1070240" cy="271934"/>
          </a:xfrm>
          <a:prstGeom prst="rect">
            <a:avLst/>
          </a:prstGeom>
          <a:noFill/>
          <a:ln w="9525">
            <a:noFill/>
            <a:miter lim="800000"/>
            <a:headEnd/>
            <a:tailEnd/>
          </a:ln>
        </p:spPr>
        <p:txBody>
          <a:bodyPr wrap="square" lIns="91440" tIns="45720" rIns="91440" bIns="45720">
            <a:spAutoFit/>
          </a:bodyPr>
          <a:lstStyle/>
          <a:p>
            <a:pPr algn="ctr"/>
            <a:r>
              <a:rPr lang="en-US" sz="1167" dirty="0">
                <a:solidFill>
                  <a:srgbClr val="002060"/>
                </a:solidFill>
                <a:cs typeface="Arial" pitchFamily="34" charset="0"/>
              </a:rPr>
              <a:t>Geo/Region</a:t>
            </a:r>
          </a:p>
        </p:txBody>
      </p:sp>
      <p:sp>
        <p:nvSpPr>
          <p:cNvPr id="133" name="TextBox 132"/>
          <p:cNvSpPr txBox="1">
            <a:spLocks noChangeArrowheads="1"/>
          </p:cNvSpPr>
          <p:nvPr/>
        </p:nvSpPr>
        <p:spPr bwMode="auto">
          <a:xfrm>
            <a:off x="-95250" y="2386542"/>
            <a:ext cx="879740"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Mine Video</a:t>
            </a:r>
          </a:p>
        </p:txBody>
      </p:sp>
      <p:pic>
        <p:nvPicPr>
          <p:cNvPr id="134" name="Picture 133" descr="video.png"/>
          <p:cNvPicPr>
            <a:picLocks noChangeAspect="1"/>
          </p:cNvPicPr>
          <p:nvPr/>
        </p:nvPicPr>
        <p:blipFill>
          <a:blip r:embed="rId34" cstate="print"/>
          <a:stretch>
            <a:fillRect/>
          </a:stretch>
        </p:blipFill>
        <p:spPr>
          <a:xfrm>
            <a:off x="190500" y="2682875"/>
            <a:ext cx="359702" cy="359702"/>
          </a:xfrm>
          <a:prstGeom prst="rect">
            <a:avLst/>
          </a:prstGeom>
        </p:spPr>
      </p:pic>
      <p:sp>
        <p:nvSpPr>
          <p:cNvPr id="135" name="TextBox 134"/>
          <p:cNvSpPr txBox="1">
            <a:spLocks noChangeArrowheads="1"/>
          </p:cNvSpPr>
          <p:nvPr/>
        </p:nvSpPr>
        <p:spPr bwMode="auto">
          <a:xfrm>
            <a:off x="4841875" y="947208"/>
            <a:ext cx="1158875" cy="355610"/>
          </a:xfrm>
          <a:prstGeom prst="rect">
            <a:avLst/>
          </a:prstGeom>
          <a:noFill/>
          <a:ln w="9525">
            <a:noFill/>
            <a:miter lim="800000"/>
            <a:headEnd/>
            <a:tailEnd/>
          </a:ln>
        </p:spPr>
        <p:txBody>
          <a:bodyPr lIns="68580" tIns="34290" rIns="68580" bIns="34290">
            <a:spAutoFit/>
          </a:bodyPr>
          <a:lstStyle/>
          <a:p>
            <a:pPr algn="ctr">
              <a:lnSpc>
                <a:spcPts val="1125"/>
              </a:lnSpc>
            </a:pPr>
            <a:r>
              <a:rPr lang="en-US" sz="1167" b="1" dirty="0">
                <a:solidFill>
                  <a:srgbClr val="002060"/>
                </a:solidFill>
                <a:cs typeface="Arial" pitchFamily="34" charset="0"/>
              </a:rPr>
              <a:t>Reports / Analysis</a:t>
            </a:r>
          </a:p>
        </p:txBody>
      </p:sp>
      <p:sp>
        <p:nvSpPr>
          <p:cNvPr id="136" name="Title 34"/>
          <p:cNvSpPr>
            <a:spLocks noGrp="1"/>
          </p:cNvSpPr>
          <p:nvPr>
            <p:ph type="title"/>
          </p:nvPr>
        </p:nvSpPr>
        <p:spPr>
          <a:xfrm>
            <a:off x="110675" y="217189"/>
            <a:ext cx="10776268" cy="479988"/>
          </a:xfrm>
        </p:spPr>
        <p:txBody>
          <a:bodyPr/>
          <a:lstStyle/>
          <a:p>
            <a:r>
              <a:rPr lang="en-US" sz="2800" dirty="0">
                <a:solidFill>
                  <a:srgbClr val="0070C0"/>
                </a:solidFill>
                <a:latin typeface="Arial" panose="020B0604020202020204" pitchFamily="34" charset="0"/>
                <a:ea typeface="+mj-ea"/>
              </a:rPr>
              <a:t>Illustrative Art of the Possible: </a:t>
            </a:r>
            <a:r>
              <a:rPr lang="en-US" sz="2800" b="0" dirty="0">
                <a:solidFill>
                  <a:srgbClr val="0070C0"/>
                </a:solidFill>
                <a:latin typeface="Arial" panose="020B0604020202020204" pitchFamily="34" charset="0"/>
                <a:ea typeface="+mj-ea"/>
              </a:rPr>
              <a:t>Non Conflict Gold Value Chain</a:t>
            </a:r>
          </a:p>
        </p:txBody>
      </p:sp>
      <p:sp>
        <p:nvSpPr>
          <p:cNvPr id="137" name="TextBox 136"/>
          <p:cNvSpPr txBox="1">
            <a:spLocks noChangeArrowheads="1"/>
          </p:cNvSpPr>
          <p:nvPr/>
        </p:nvSpPr>
        <p:spPr bwMode="auto">
          <a:xfrm>
            <a:off x="1587500" y="6062578"/>
            <a:ext cx="992188" cy="631135"/>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Processing</a:t>
            </a:r>
          </a:p>
          <a:p>
            <a:pPr algn="ctr"/>
            <a:r>
              <a:rPr lang="en-US" sz="1167" dirty="0">
                <a:solidFill>
                  <a:srgbClr val="002060"/>
                </a:solidFill>
                <a:cs typeface="Arial" pitchFamily="34" charset="0"/>
              </a:rPr>
              <a:t>Refining Plant</a:t>
            </a:r>
          </a:p>
        </p:txBody>
      </p:sp>
      <p:sp>
        <p:nvSpPr>
          <p:cNvPr id="138" name="TextBox 137"/>
          <p:cNvSpPr txBox="1">
            <a:spLocks noChangeArrowheads="1"/>
          </p:cNvSpPr>
          <p:nvPr/>
        </p:nvSpPr>
        <p:spPr bwMode="auto">
          <a:xfrm>
            <a:off x="825500" y="6096000"/>
            <a:ext cx="992188"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Trucking</a:t>
            </a:r>
          </a:p>
        </p:txBody>
      </p:sp>
      <p:sp>
        <p:nvSpPr>
          <p:cNvPr id="139" name="TextBox 138"/>
          <p:cNvSpPr txBox="1">
            <a:spLocks noChangeArrowheads="1"/>
          </p:cNvSpPr>
          <p:nvPr/>
        </p:nvSpPr>
        <p:spPr bwMode="auto">
          <a:xfrm>
            <a:off x="-76868" y="6059237"/>
            <a:ext cx="992188"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Mining</a:t>
            </a:r>
          </a:p>
        </p:txBody>
      </p:sp>
      <p:sp>
        <p:nvSpPr>
          <p:cNvPr id="140" name="TextBox 139"/>
          <p:cNvSpPr txBox="1">
            <a:spLocks noChangeArrowheads="1"/>
          </p:cNvSpPr>
          <p:nvPr/>
        </p:nvSpPr>
        <p:spPr bwMode="auto">
          <a:xfrm>
            <a:off x="2921000" y="6096000"/>
            <a:ext cx="992188" cy="2719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Gold</a:t>
            </a:r>
          </a:p>
        </p:txBody>
      </p:sp>
      <p:sp>
        <p:nvSpPr>
          <p:cNvPr id="141" name="TextBox 140"/>
          <p:cNvSpPr txBox="1">
            <a:spLocks noChangeArrowheads="1"/>
          </p:cNvSpPr>
          <p:nvPr/>
        </p:nvSpPr>
        <p:spPr bwMode="auto">
          <a:xfrm>
            <a:off x="3873500" y="6078131"/>
            <a:ext cx="2476500" cy="271934"/>
          </a:xfrm>
          <a:prstGeom prst="rect">
            <a:avLst/>
          </a:prstGeom>
          <a:noFill/>
          <a:ln w="9525">
            <a:noFill/>
            <a:miter lim="800000"/>
            <a:headEnd/>
            <a:tailEnd/>
          </a:ln>
        </p:spPr>
        <p:txBody>
          <a:bodyPr wrap="square" lIns="91440" tIns="45720" rIns="91440" bIns="45720">
            <a:spAutoFit/>
          </a:bodyPr>
          <a:lstStyle/>
          <a:p>
            <a:pPr algn="ctr"/>
            <a:r>
              <a:rPr lang="en-US" sz="1167" dirty="0">
                <a:solidFill>
                  <a:srgbClr val="002060"/>
                </a:solidFill>
                <a:cs typeface="Arial" pitchFamily="34" charset="0"/>
              </a:rPr>
              <a:t>Logistic Carriers</a:t>
            </a:r>
          </a:p>
        </p:txBody>
      </p:sp>
      <p:sp>
        <p:nvSpPr>
          <p:cNvPr id="142" name="TextBox 141"/>
          <p:cNvSpPr txBox="1">
            <a:spLocks noChangeArrowheads="1"/>
          </p:cNvSpPr>
          <p:nvPr/>
        </p:nvSpPr>
        <p:spPr bwMode="auto">
          <a:xfrm>
            <a:off x="2349500" y="6096000"/>
            <a:ext cx="992188" cy="451534"/>
          </a:xfrm>
          <a:prstGeom prst="rect">
            <a:avLst/>
          </a:prstGeom>
          <a:noFill/>
          <a:ln w="9525">
            <a:noFill/>
            <a:miter lim="800000"/>
            <a:headEnd/>
            <a:tailEnd/>
          </a:ln>
        </p:spPr>
        <p:txBody>
          <a:bodyPr lIns="91440" tIns="45720" rIns="91440" bIns="45720">
            <a:spAutoFit/>
          </a:bodyPr>
          <a:lstStyle/>
          <a:p>
            <a:pPr algn="ctr"/>
            <a:r>
              <a:rPr lang="en-US" sz="1167" dirty="0">
                <a:solidFill>
                  <a:srgbClr val="002060"/>
                </a:solidFill>
                <a:cs typeface="Arial" pitchFamily="34" charset="0"/>
              </a:rPr>
              <a:t>Quality Certificates</a:t>
            </a:r>
          </a:p>
        </p:txBody>
      </p:sp>
      <p:sp>
        <p:nvSpPr>
          <p:cNvPr id="143" name="TextBox 142"/>
          <p:cNvSpPr txBox="1">
            <a:spLocks noChangeArrowheads="1"/>
          </p:cNvSpPr>
          <p:nvPr/>
        </p:nvSpPr>
        <p:spPr bwMode="auto">
          <a:xfrm>
            <a:off x="6223000" y="6096000"/>
            <a:ext cx="1079500" cy="271934"/>
          </a:xfrm>
          <a:prstGeom prst="rect">
            <a:avLst/>
          </a:prstGeom>
          <a:noFill/>
          <a:ln w="9525">
            <a:noFill/>
            <a:miter lim="800000"/>
            <a:headEnd/>
            <a:tailEnd/>
          </a:ln>
        </p:spPr>
        <p:txBody>
          <a:bodyPr wrap="square" lIns="91440" tIns="45720" rIns="91440" bIns="45720">
            <a:spAutoFit/>
          </a:bodyPr>
          <a:lstStyle/>
          <a:p>
            <a:pPr algn="ctr"/>
            <a:r>
              <a:rPr lang="en-US" sz="1167" dirty="0">
                <a:solidFill>
                  <a:srgbClr val="002060"/>
                </a:solidFill>
                <a:cs typeface="Arial" pitchFamily="34" charset="0"/>
              </a:rPr>
              <a:t>Customs</a:t>
            </a:r>
          </a:p>
        </p:txBody>
      </p:sp>
      <p:sp>
        <p:nvSpPr>
          <p:cNvPr id="144" name="TextBox 143"/>
          <p:cNvSpPr txBox="1">
            <a:spLocks noChangeArrowheads="1"/>
          </p:cNvSpPr>
          <p:nvPr/>
        </p:nvSpPr>
        <p:spPr bwMode="auto">
          <a:xfrm>
            <a:off x="11467558" y="6159500"/>
            <a:ext cx="607859" cy="233462"/>
          </a:xfrm>
          <a:prstGeom prst="rect">
            <a:avLst/>
          </a:prstGeom>
          <a:noFill/>
          <a:ln w="9525">
            <a:noFill/>
            <a:miter lim="800000"/>
            <a:headEnd/>
            <a:tailEnd/>
          </a:ln>
        </p:spPr>
        <p:txBody>
          <a:bodyPr wrap="none" lIns="91440" tIns="45720" rIns="91440" bIns="45720">
            <a:spAutoFit/>
          </a:bodyPr>
          <a:lstStyle/>
          <a:p>
            <a:pPr algn="ctr"/>
            <a:r>
              <a:rPr lang="en-US" sz="917" dirty="0">
                <a:solidFill>
                  <a:srgbClr val="002060"/>
                </a:solidFill>
                <a:cs typeface="Arial" pitchFamily="34" charset="0"/>
              </a:rPr>
              <a:t>Smelters</a:t>
            </a:r>
          </a:p>
        </p:txBody>
      </p:sp>
      <p:cxnSp>
        <p:nvCxnSpPr>
          <p:cNvPr id="145" name="Straight Arrow Connector 144"/>
          <p:cNvCxnSpPr/>
          <p:nvPr/>
        </p:nvCxnSpPr>
        <p:spPr>
          <a:xfrm flipV="1">
            <a:off x="11620500" y="3114842"/>
            <a:ext cx="0" cy="2508250"/>
          </a:xfrm>
          <a:prstGeom prst="straightConnector1">
            <a:avLst/>
          </a:prstGeom>
          <a:ln>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6" name="Picture 145" descr="IoT.png"/>
          <p:cNvPicPr>
            <a:picLocks noChangeAspect="1"/>
          </p:cNvPicPr>
          <p:nvPr/>
        </p:nvPicPr>
        <p:blipFill>
          <a:blip r:embed="rId18" cstate="print"/>
          <a:srcRect/>
          <a:stretch>
            <a:fillRect/>
          </a:stretch>
        </p:blipFill>
        <p:spPr bwMode="auto">
          <a:xfrm>
            <a:off x="11432646" y="5074708"/>
            <a:ext cx="392906" cy="392907"/>
          </a:xfrm>
          <a:prstGeom prst="rect">
            <a:avLst/>
          </a:prstGeom>
          <a:noFill/>
          <a:ln w="9525">
            <a:noFill/>
            <a:miter lim="800000"/>
            <a:headEnd/>
            <a:tailEnd/>
          </a:ln>
        </p:spPr>
      </p:pic>
      <p:sp>
        <p:nvSpPr>
          <p:cNvPr id="148" name="Slide Number Placeholder 4">
            <a:extLst>
              <a:ext uri="{FF2B5EF4-FFF2-40B4-BE49-F238E27FC236}">
                <a16:creationId xmlns:a16="http://schemas.microsoft.com/office/drawing/2014/main" id="{5B05F90F-03ED-194C-9638-DEBB52092FD4}"/>
              </a:ext>
            </a:extLst>
          </p:cNvPr>
          <p:cNvSpPr txBox="1">
            <a:spLocks/>
          </p:cNvSpPr>
          <p:nvPr/>
        </p:nvSpPr>
        <p:spPr>
          <a:xfrm>
            <a:off x="8610600" y="650383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z="1200" smtClean="0">
                <a:solidFill>
                  <a:schemeClr val="tx1">
                    <a:tint val="75000"/>
                  </a:schemeClr>
                </a:solidFill>
              </a:rPr>
              <a:pPr algn="r"/>
              <a:t>15</a:t>
            </a:fld>
            <a:endParaRPr lang="uk-UA" sz="1200" dirty="0">
              <a:solidFill>
                <a:schemeClr val="tx1">
                  <a:tint val="75000"/>
                </a:schemeClr>
              </a:solidFill>
            </a:endParaRPr>
          </a:p>
        </p:txBody>
      </p:sp>
    </p:spTree>
    <p:extLst>
      <p:ext uri="{BB962C8B-B14F-4D97-AF65-F5344CB8AC3E}">
        <p14:creationId xmlns:p14="http://schemas.microsoft.com/office/powerpoint/2010/main" val="38781141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2000"/>
                                        <p:tgtEl>
                                          <p:spTgt spid="13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20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8"/>
                                        </p:tgtEl>
                                        <p:attrNameLst>
                                          <p:attrName>style.visibility</p:attrName>
                                        </p:attrNameLst>
                                      </p:cBhvr>
                                      <p:to>
                                        <p:strVal val="visible"/>
                                      </p:to>
                                    </p:set>
                                    <p:animEffect transition="in" filter="fade">
                                      <p:cBhvr>
                                        <p:cTn id="18" dur="2000"/>
                                        <p:tgtEl>
                                          <p:spTgt spid="13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20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37"/>
                                        </p:tgtEl>
                                        <p:attrNameLst>
                                          <p:attrName>style.visibility</p:attrName>
                                        </p:attrNameLst>
                                      </p:cBhvr>
                                      <p:to>
                                        <p:strVal val="visible"/>
                                      </p:to>
                                    </p:set>
                                    <p:animEffect transition="in" filter="fade">
                                      <p:cBhvr>
                                        <p:cTn id="26" dur="2000"/>
                                        <p:tgtEl>
                                          <p:spTgt spid="13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20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42"/>
                                        </p:tgtEl>
                                        <p:attrNameLst>
                                          <p:attrName>style.visibility</p:attrName>
                                        </p:attrNameLst>
                                      </p:cBhvr>
                                      <p:to>
                                        <p:strVal val="visible"/>
                                      </p:to>
                                    </p:set>
                                    <p:animEffect transition="in" filter="fade">
                                      <p:cBhvr>
                                        <p:cTn id="34" dur="2000"/>
                                        <p:tgtEl>
                                          <p:spTgt spid="14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40"/>
                                        </p:tgtEl>
                                        <p:attrNameLst>
                                          <p:attrName>style.visibility</p:attrName>
                                        </p:attrNameLst>
                                      </p:cBhvr>
                                      <p:to>
                                        <p:strVal val="visible"/>
                                      </p:to>
                                    </p:set>
                                    <p:animEffect transition="in" filter="fade">
                                      <p:cBhvr>
                                        <p:cTn id="39" dur="2000"/>
                                        <p:tgtEl>
                                          <p:spTgt spid="140"/>
                                        </p:tgtEl>
                                      </p:cBhvr>
                                    </p:animEffect>
                                  </p:childTnLst>
                                </p:cTn>
                              </p:par>
                              <p:par>
                                <p:cTn id="40" presetID="10" presetClass="entr" presetSubtype="0" fill="hold"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20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200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2000"/>
                                        <p:tgtEl>
                                          <p:spTgt spid="8"/>
                                        </p:tgtEl>
                                      </p:cBhvr>
                                    </p:animEffect>
                                  </p:childTnLst>
                                </p:cTn>
                              </p:par>
                              <p:par>
                                <p:cTn id="51" presetID="10" presetClass="entr" presetSubtype="0"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2000"/>
                                        <p:tgtEl>
                                          <p:spTgt spid="10"/>
                                        </p:tgtEl>
                                      </p:cBhvr>
                                    </p:animEffect>
                                  </p:childTnLst>
                                </p:cTn>
                              </p:par>
                              <p:par>
                                <p:cTn id="54" presetID="10" presetClass="entr" presetSubtype="0" fill="hold" nodeType="with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2000"/>
                                        <p:tgtEl>
                                          <p:spTgt spid="1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41"/>
                                        </p:tgtEl>
                                        <p:attrNameLst>
                                          <p:attrName>style.visibility</p:attrName>
                                        </p:attrNameLst>
                                      </p:cBhvr>
                                      <p:to>
                                        <p:strVal val="visible"/>
                                      </p:to>
                                    </p:set>
                                    <p:animEffect transition="in" filter="fade">
                                      <p:cBhvr>
                                        <p:cTn id="59" dur="2000"/>
                                        <p:tgtEl>
                                          <p:spTgt spid="141"/>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43"/>
                                        </p:tgtEl>
                                        <p:attrNameLst>
                                          <p:attrName>style.visibility</p:attrName>
                                        </p:attrNameLst>
                                      </p:cBhvr>
                                      <p:to>
                                        <p:strVal val="visible"/>
                                      </p:to>
                                    </p:set>
                                    <p:animEffect transition="in" filter="fade">
                                      <p:cBhvr>
                                        <p:cTn id="64" dur="2000"/>
                                        <p:tgtEl>
                                          <p:spTgt spid="143"/>
                                        </p:tgtEl>
                                      </p:cBhvr>
                                    </p:animEffect>
                                  </p:childTnLst>
                                </p:cTn>
                              </p:par>
                              <p:par>
                                <p:cTn id="65" presetID="10" presetClass="entr" presetSubtype="0" fill="hold"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2000"/>
                                        <p:tgtEl>
                                          <p:spTgt spid="2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2000"/>
                                        <p:tgtEl>
                                          <p:spTgt spid="13"/>
                                        </p:tgtEl>
                                      </p:cBhvr>
                                    </p:animEffect>
                                  </p:childTnLst>
                                </p:cTn>
                              </p:par>
                              <p:par>
                                <p:cTn id="73" presetID="10" presetClass="entr" presetSubtype="0" fill="hold" nodeType="with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fade">
                                      <p:cBhvr>
                                        <p:cTn id="75" dur="2000"/>
                                        <p:tgtEl>
                                          <p:spTgt spid="15"/>
                                        </p:tgtEl>
                                      </p:cBhvr>
                                    </p:animEffect>
                                  </p:childTnLst>
                                </p:cTn>
                              </p:par>
                              <p:par>
                                <p:cTn id="76" presetID="10" presetClass="entr" presetSubtype="0" fill="hold" nodeType="with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2000"/>
                                        <p:tgtEl>
                                          <p:spTgt spid="16"/>
                                        </p:tgtEl>
                                      </p:cBhvr>
                                    </p:animEffect>
                                  </p:childTnLst>
                                </p:cTn>
                              </p:par>
                              <p:par>
                                <p:cTn id="79" presetID="10" presetClass="entr" presetSubtype="0" fill="hold" nodeType="with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2000"/>
                                        <p:tgtEl>
                                          <p:spTgt spid="14"/>
                                        </p:tgtEl>
                                      </p:cBhvr>
                                    </p:animEffect>
                                  </p:childTnLst>
                                </p:cTn>
                              </p:par>
                              <p:par>
                                <p:cTn id="82" presetID="10" presetClass="entr" presetSubtype="0" fill="hold" nodeType="with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2000"/>
                                        <p:tgtEl>
                                          <p:spTgt spid="17"/>
                                        </p:tgtEl>
                                      </p:cBhvr>
                                    </p:animEffect>
                                  </p:childTnLst>
                                </p:cTn>
                              </p:par>
                              <p:par>
                                <p:cTn id="85" presetID="10" presetClass="entr" presetSubtype="0" fill="hold" nodeType="withEffect">
                                  <p:stCondLst>
                                    <p:cond delay="0"/>
                                  </p:stCondLst>
                                  <p:childTnLst>
                                    <p:set>
                                      <p:cBhvr>
                                        <p:cTn id="86" dur="1" fill="hold">
                                          <p:stCondLst>
                                            <p:cond delay="0"/>
                                          </p:stCondLst>
                                        </p:cTn>
                                        <p:tgtEl>
                                          <p:spTgt spid="23"/>
                                        </p:tgtEl>
                                        <p:attrNameLst>
                                          <p:attrName>style.visibility</p:attrName>
                                        </p:attrNameLst>
                                      </p:cBhvr>
                                      <p:to>
                                        <p:strVal val="visible"/>
                                      </p:to>
                                    </p:set>
                                    <p:animEffect transition="in" filter="fade">
                                      <p:cBhvr>
                                        <p:cTn id="87" dur="2000"/>
                                        <p:tgtEl>
                                          <p:spTgt spid="23"/>
                                        </p:tgtEl>
                                      </p:cBhvr>
                                    </p:animEffect>
                                  </p:childTnLst>
                                </p:cTn>
                              </p:par>
                              <p:par>
                                <p:cTn id="88" presetID="10" presetClass="entr" presetSubtype="0" fill="hold" nodeType="withEffect">
                                  <p:stCondLst>
                                    <p:cond delay="0"/>
                                  </p:stCondLst>
                                  <p:childTnLst>
                                    <p:set>
                                      <p:cBhvr>
                                        <p:cTn id="89" dur="1" fill="hold">
                                          <p:stCondLst>
                                            <p:cond delay="0"/>
                                          </p:stCondLst>
                                        </p:cTn>
                                        <p:tgtEl>
                                          <p:spTgt spid="24"/>
                                        </p:tgtEl>
                                        <p:attrNameLst>
                                          <p:attrName>style.visibility</p:attrName>
                                        </p:attrNameLst>
                                      </p:cBhvr>
                                      <p:to>
                                        <p:strVal val="visible"/>
                                      </p:to>
                                    </p:set>
                                    <p:animEffect transition="in" filter="fade">
                                      <p:cBhvr>
                                        <p:cTn id="90" dur="2000"/>
                                        <p:tgtEl>
                                          <p:spTgt spid="24"/>
                                        </p:tgtEl>
                                      </p:cBhvr>
                                    </p:animEffect>
                                  </p:childTnLst>
                                </p:cTn>
                              </p:par>
                              <p:par>
                                <p:cTn id="91" presetID="10" presetClass="entr" presetSubtype="0" fill="hold" nodeType="withEffect">
                                  <p:stCondLst>
                                    <p:cond delay="0"/>
                                  </p:stCondLst>
                                  <p:childTnLst>
                                    <p:set>
                                      <p:cBhvr>
                                        <p:cTn id="92" dur="1" fill="hold">
                                          <p:stCondLst>
                                            <p:cond delay="0"/>
                                          </p:stCondLst>
                                        </p:cTn>
                                        <p:tgtEl>
                                          <p:spTgt spid="25"/>
                                        </p:tgtEl>
                                        <p:attrNameLst>
                                          <p:attrName>style.visibility</p:attrName>
                                        </p:attrNameLst>
                                      </p:cBhvr>
                                      <p:to>
                                        <p:strVal val="visible"/>
                                      </p:to>
                                    </p:set>
                                    <p:animEffect transition="in" filter="fade">
                                      <p:cBhvr>
                                        <p:cTn id="93" dur="2000"/>
                                        <p:tgtEl>
                                          <p:spTgt spid="25"/>
                                        </p:tgtEl>
                                      </p:cBhvr>
                                    </p:animEffect>
                                  </p:childTnLst>
                                </p:cTn>
                              </p:par>
                              <p:par>
                                <p:cTn id="94" presetID="10" presetClass="entr" presetSubtype="0" fill="hold" nodeType="withEffect">
                                  <p:stCondLst>
                                    <p:cond delay="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2000"/>
                                        <p:tgtEl>
                                          <p:spTgt spid="26"/>
                                        </p:tgtEl>
                                      </p:cBhvr>
                                    </p:animEffect>
                                  </p:childTnLst>
                                </p:cTn>
                              </p:par>
                              <p:par>
                                <p:cTn id="97" presetID="10" presetClass="entr" presetSubtype="0" fill="hold"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2000"/>
                                        <p:tgtEl>
                                          <p:spTgt spid="28"/>
                                        </p:tgtEl>
                                      </p:cBhvr>
                                    </p:animEffect>
                                  </p:childTnLst>
                                </p:cTn>
                              </p:par>
                              <p:par>
                                <p:cTn id="100" presetID="10" presetClass="entr" presetSubtype="0" fill="hold" nodeType="withEffect">
                                  <p:stCondLst>
                                    <p:cond delay="0"/>
                                  </p:stCondLst>
                                  <p:childTnLst>
                                    <p:set>
                                      <p:cBhvr>
                                        <p:cTn id="101" dur="1" fill="hold">
                                          <p:stCondLst>
                                            <p:cond delay="0"/>
                                          </p:stCondLst>
                                        </p:cTn>
                                        <p:tgtEl>
                                          <p:spTgt spid="29"/>
                                        </p:tgtEl>
                                        <p:attrNameLst>
                                          <p:attrName>style.visibility</p:attrName>
                                        </p:attrNameLst>
                                      </p:cBhvr>
                                      <p:to>
                                        <p:strVal val="visible"/>
                                      </p:to>
                                    </p:set>
                                    <p:animEffect transition="in" filter="fade">
                                      <p:cBhvr>
                                        <p:cTn id="102" dur="2000"/>
                                        <p:tgtEl>
                                          <p:spTgt spid="29"/>
                                        </p:tgtEl>
                                      </p:cBhvr>
                                    </p:animEffect>
                                  </p:childTnLst>
                                </p:cTn>
                              </p:par>
                              <p:par>
                                <p:cTn id="103" presetID="10" presetClass="entr" presetSubtype="0" fill="hold" nodeType="withEffect">
                                  <p:stCondLst>
                                    <p:cond delay="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2000"/>
                                        <p:tgtEl>
                                          <p:spTgt spid="30"/>
                                        </p:tgtEl>
                                      </p:cBhvr>
                                    </p:animEffect>
                                  </p:childTnLst>
                                </p:cTn>
                              </p:par>
                              <p:par>
                                <p:cTn id="106" presetID="10" presetClass="entr" presetSubtype="0" fill="hold" nodeType="withEffect">
                                  <p:stCondLst>
                                    <p:cond delay="0"/>
                                  </p:stCondLst>
                                  <p:childTnLst>
                                    <p:set>
                                      <p:cBhvr>
                                        <p:cTn id="107" dur="1" fill="hold">
                                          <p:stCondLst>
                                            <p:cond delay="0"/>
                                          </p:stCondLst>
                                        </p:cTn>
                                        <p:tgtEl>
                                          <p:spTgt spid="31"/>
                                        </p:tgtEl>
                                        <p:attrNameLst>
                                          <p:attrName>style.visibility</p:attrName>
                                        </p:attrNameLst>
                                      </p:cBhvr>
                                      <p:to>
                                        <p:strVal val="visible"/>
                                      </p:to>
                                    </p:set>
                                    <p:animEffect transition="in" filter="fade">
                                      <p:cBhvr>
                                        <p:cTn id="108" dur="2000"/>
                                        <p:tgtEl>
                                          <p:spTgt spid="31"/>
                                        </p:tgtEl>
                                      </p:cBhvr>
                                    </p:animEffect>
                                  </p:childTnLst>
                                </p:cTn>
                              </p:par>
                              <p:par>
                                <p:cTn id="109" presetID="10" presetClass="entr" presetSubtype="0" fill="hold" nodeType="withEffect">
                                  <p:stCondLst>
                                    <p:cond delay="0"/>
                                  </p:stCondLst>
                                  <p:childTnLst>
                                    <p:set>
                                      <p:cBhvr>
                                        <p:cTn id="110" dur="1" fill="hold">
                                          <p:stCondLst>
                                            <p:cond delay="0"/>
                                          </p:stCondLst>
                                        </p:cTn>
                                        <p:tgtEl>
                                          <p:spTgt spid="32"/>
                                        </p:tgtEl>
                                        <p:attrNameLst>
                                          <p:attrName>style.visibility</p:attrName>
                                        </p:attrNameLst>
                                      </p:cBhvr>
                                      <p:to>
                                        <p:strVal val="visible"/>
                                      </p:to>
                                    </p:set>
                                    <p:animEffect transition="in" filter="fade">
                                      <p:cBhvr>
                                        <p:cTn id="111" dur="2000"/>
                                        <p:tgtEl>
                                          <p:spTgt spid="32"/>
                                        </p:tgtEl>
                                      </p:cBhvr>
                                    </p:animEffect>
                                  </p:childTnLst>
                                </p:cTn>
                              </p:par>
                              <p:par>
                                <p:cTn id="112" presetID="10" presetClass="entr" presetSubtype="0" fill="hold" nodeType="withEffect">
                                  <p:stCondLst>
                                    <p:cond delay="0"/>
                                  </p:stCondLst>
                                  <p:childTnLst>
                                    <p:set>
                                      <p:cBhvr>
                                        <p:cTn id="113" dur="1" fill="hold">
                                          <p:stCondLst>
                                            <p:cond delay="0"/>
                                          </p:stCondLst>
                                        </p:cTn>
                                        <p:tgtEl>
                                          <p:spTgt spid="33"/>
                                        </p:tgtEl>
                                        <p:attrNameLst>
                                          <p:attrName>style.visibility</p:attrName>
                                        </p:attrNameLst>
                                      </p:cBhvr>
                                      <p:to>
                                        <p:strVal val="visible"/>
                                      </p:to>
                                    </p:set>
                                    <p:animEffect transition="in" filter="fade">
                                      <p:cBhvr>
                                        <p:cTn id="114" dur="2000"/>
                                        <p:tgtEl>
                                          <p:spTgt spid="33"/>
                                        </p:tgtEl>
                                      </p:cBhvr>
                                    </p:animEffect>
                                  </p:childTnLst>
                                </p:cTn>
                              </p:par>
                              <p:par>
                                <p:cTn id="115" presetID="10" presetClass="entr" presetSubtype="0" fill="hold" nodeType="withEffect">
                                  <p:stCondLst>
                                    <p:cond delay="0"/>
                                  </p:stCondLst>
                                  <p:childTnLst>
                                    <p:set>
                                      <p:cBhvr>
                                        <p:cTn id="116" dur="1" fill="hold">
                                          <p:stCondLst>
                                            <p:cond delay="0"/>
                                          </p:stCondLst>
                                        </p:cTn>
                                        <p:tgtEl>
                                          <p:spTgt spid="34"/>
                                        </p:tgtEl>
                                        <p:attrNameLst>
                                          <p:attrName>style.visibility</p:attrName>
                                        </p:attrNameLst>
                                      </p:cBhvr>
                                      <p:to>
                                        <p:strVal val="visible"/>
                                      </p:to>
                                    </p:set>
                                    <p:animEffect transition="in" filter="fade">
                                      <p:cBhvr>
                                        <p:cTn id="117" dur="2000"/>
                                        <p:tgtEl>
                                          <p:spTgt spid="34"/>
                                        </p:tgtEl>
                                      </p:cBhvr>
                                    </p:animEffect>
                                  </p:childTnLst>
                                </p:cTn>
                              </p:par>
                              <p:par>
                                <p:cTn id="118" presetID="10" presetClass="entr" presetSubtype="0" fill="hold" nodeType="withEffect">
                                  <p:stCondLst>
                                    <p:cond delay="0"/>
                                  </p:stCondLst>
                                  <p:childTnLst>
                                    <p:set>
                                      <p:cBhvr>
                                        <p:cTn id="119" dur="1" fill="hold">
                                          <p:stCondLst>
                                            <p:cond delay="0"/>
                                          </p:stCondLst>
                                        </p:cTn>
                                        <p:tgtEl>
                                          <p:spTgt spid="35"/>
                                        </p:tgtEl>
                                        <p:attrNameLst>
                                          <p:attrName>style.visibility</p:attrName>
                                        </p:attrNameLst>
                                      </p:cBhvr>
                                      <p:to>
                                        <p:strVal val="visible"/>
                                      </p:to>
                                    </p:set>
                                    <p:animEffect transition="in" filter="fade">
                                      <p:cBhvr>
                                        <p:cTn id="120" dur="2000"/>
                                        <p:tgtEl>
                                          <p:spTgt spid="35"/>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36"/>
                                        </p:tgtEl>
                                        <p:attrNameLst>
                                          <p:attrName>style.visibility</p:attrName>
                                        </p:attrNameLst>
                                      </p:cBhvr>
                                      <p:to>
                                        <p:strVal val="visible"/>
                                      </p:to>
                                    </p:set>
                                    <p:animEffect transition="in" filter="fade">
                                      <p:cBhvr>
                                        <p:cTn id="123" dur="2000"/>
                                        <p:tgtEl>
                                          <p:spTgt spid="36"/>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37"/>
                                        </p:tgtEl>
                                        <p:attrNameLst>
                                          <p:attrName>style.visibility</p:attrName>
                                        </p:attrNameLst>
                                      </p:cBhvr>
                                      <p:to>
                                        <p:strVal val="visible"/>
                                      </p:to>
                                    </p:set>
                                    <p:animEffect transition="in" filter="fade">
                                      <p:cBhvr>
                                        <p:cTn id="126" dur="2000"/>
                                        <p:tgtEl>
                                          <p:spTgt spid="37"/>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38"/>
                                        </p:tgtEl>
                                        <p:attrNameLst>
                                          <p:attrName>style.visibility</p:attrName>
                                        </p:attrNameLst>
                                      </p:cBhvr>
                                      <p:to>
                                        <p:strVal val="visible"/>
                                      </p:to>
                                    </p:set>
                                    <p:animEffect transition="in" filter="fade">
                                      <p:cBhvr>
                                        <p:cTn id="129" dur="2000"/>
                                        <p:tgtEl>
                                          <p:spTgt spid="38"/>
                                        </p:tgtEl>
                                      </p:cBhvr>
                                    </p:animEffect>
                                  </p:childTnLst>
                                </p:cTn>
                              </p:par>
                              <p:par>
                                <p:cTn id="130" presetID="10" presetClass="entr" presetSubtype="0" fill="hold" nodeType="withEffect">
                                  <p:stCondLst>
                                    <p:cond delay="0"/>
                                  </p:stCondLst>
                                  <p:childTnLst>
                                    <p:set>
                                      <p:cBhvr>
                                        <p:cTn id="131" dur="1" fill="hold">
                                          <p:stCondLst>
                                            <p:cond delay="0"/>
                                          </p:stCondLst>
                                        </p:cTn>
                                        <p:tgtEl>
                                          <p:spTgt spid="54"/>
                                        </p:tgtEl>
                                        <p:attrNameLst>
                                          <p:attrName>style.visibility</p:attrName>
                                        </p:attrNameLst>
                                      </p:cBhvr>
                                      <p:to>
                                        <p:strVal val="visible"/>
                                      </p:to>
                                    </p:set>
                                    <p:animEffect transition="in" filter="fade">
                                      <p:cBhvr>
                                        <p:cTn id="132" dur="2000"/>
                                        <p:tgtEl>
                                          <p:spTgt spid="54"/>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44"/>
                                        </p:tgtEl>
                                        <p:attrNameLst>
                                          <p:attrName>style.visibility</p:attrName>
                                        </p:attrNameLst>
                                      </p:cBhvr>
                                      <p:to>
                                        <p:strVal val="visible"/>
                                      </p:to>
                                    </p:set>
                                    <p:animEffect transition="in" filter="fade">
                                      <p:cBhvr>
                                        <p:cTn id="135" dur="2000"/>
                                        <p:tgtEl>
                                          <p:spTgt spid="144"/>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20"/>
                                        </p:tgtEl>
                                        <p:attrNameLst>
                                          <p:attrName>style.visibility</p:attrName>
                                        </p:attrNameLst>
                                      </p:cBhvr>
                                      <p:to>
                                        <p:strVal val="visible"/>
                                      </p:to>
                                    </p:set>
                                    <p:animEffect transition="in" filter="fade">
                                      <p:cBhvr>
                                        <p:cTn id="140" dur="2000"/>
                                        <p:tgtEl>
                                          <p:spTgt spid="20"/>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9"/>
                                        </p:tgtEl>
                                        <p:attrNameLst>
                                          <p:attrName>style.visibility</p:attrName>
                                        </p:attrNameLst>
                                      </p:cBhvr>
                                      <p:to>
                                        <p:strVal val="visible"/>
                                      </p:to>
                                    </p:set>
                                    <p:animEffect transition="in" filter="fade">
                                      <p:cBhvr>
                                        <p:cTn id="143" dur="2000"/>
                                        <p:tgtEl>
                                          <p:spTgt spid="19"/>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18"/>
                                        </p:tgtEl>
                                        <p:attrNameLst>
                                          <p:attrName>style.visibility</p:attrName>
                                        </p:attrNameLst>
                                      </p:cBhvr>
                                      <p:to>
                                        <p:strVal val="visible"/>
                                      </p:to>
                                    </p:set>
                                    <p:animEffect transition="in" filter="fade">
                                      <p:cBhvr>
                                        <p:cTn id="146" dur="2000"/>
                                        <p:tgtEl>
                                          <p:spTgt spid="18"/>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nodeType="clickEffect">
                                  <p:stCondLst>
                                    <p:cond delay="0"/>
                                  </p:stCondLst>
                                  <p:childTnLst>
                                    <p:set>
                                      <p:cBhvr>
                                        <p:cTn id="150" dur="1" fill="hold">
                                          <p:stCondLst>
                                            <p:cond delay="0"/>
                                          </p:stCondLst>
                                        </p:cTn>
                                        <p:tgtEl>
                                          <p:spTgt spid="39"/>
                                        </p:tgtEl>
                                        <p:attrNameLst>
                                          <p:attrName>style.visibility</p:attrName>
                                        </p:attrNameLst>
                                      </p:cBhvr>
                                      <p:to>
                                        <p:strVal val="visible"/>
                                      </p:to>
                                    </p:set>
                                    <p:animEffect transition="in" filter="fade">
                                      <p:cBhvr>
                                        <p:cTn id="151" dur="2000"/>
                                        <p:tgtEl>
                                          <p:spTgt spid="39"/>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27"/>
                                        </p:tgtEl>
                                        <p:attrNameLst>
                                          <p:attrName>style.visibility</p:attrName>
                                        </p:attrNameLst>
                                      </p:cBhvr>
                                      <p:to>
                                        <p:strVal val="visible"/>
                                      </p:to>
                                    </p:set>
                                    <p:animEffect transition="in" filter="fade">
                                      <p:cBhvr>
                                        <p:cTn id="154" dur="2000"/>
                                        <p:tgtEl>
                                          <p:spTgt spid="127"/>
                                        </p:tgtEl>
                                      </p:cBhvr>
                                    </p:animEffect>
                                  </p:childTnLst>
                                </p:cTn>
                              </p:par>
                              <p:par>
                                <p:cTn id="155" presetID="10" presetClass="entr" presetSubtype="0" fill="hold" nodeType="withEffect">
                                  <p:stCondLst>
                                    <p:cond delay="0"/>
                                  </p:stCondLst>
                                  <p:childTnLst>
                                    <p:set>
                                      <p:cBhvr>
                                        <p:cTn id="156" dur="1" fill="hold">
                                          <p:stCondLst>
                                            <p:cond delay="0"/>
                                          </p:stCondLst>
                                        </p:cTn>
                                        <p:tgtEl>
                                          <p:spTgt spid="55"/>
                                        </p:tgtEl>
                                        <p:attrNameLst>
                                          <p:attrName>style.visibility</p:attrName>
                                        </p:attrNameLst>
                                      </p:cBhvr>
                                      <p:to>
                                        <p:strVal val="visible"/>
                                      </p:to>
                                    </p:set>
                                    <p:animEffect transition="in" filter="fade">
                                      <p:cBhvr>
                                        <p:cTn id="157" dur="2000"/>
                                        <p:tgtEl>
                                          <p:spTgt spid="55"/>
                                        </p:tgtEl>
                                      </p:cBhvr>
                                    </p:animEffect>
                                  </p:childTnLst>
                                </p:cTn>
                              </p:par>
                              <p:par>
                                <p:cTn id="158" presetID="10" presetClass="entr" presetSubtype="0" fill="hold" nodeType="withEffect">
                                  <p:stCondLst>
                                    <p:cond delay="0"/>
                                  </p:stCondLst>
                                  <p:childTnLst>
                                    <p:set>
                                      <p:cBhvr>
                                        <p:cTn id="159" dur="1" fill="hold">
                                          <p:stCondLst>
                                            <p:cond delay="0"/>
                                          </p:stCondLst>
                                        </p:cTn>
                                        <p:tgtEl>
                                          <p:spTgt spid="56"/>
                                        </p:tgtEl>
                                        <p:attrNameLst>
                                          <p:attrName>style.visibility</p:attrName>
                                        </p:attrNameLst>
                                      </p:cBhvr>
                                      <p:to>
                                        <p:strVal val="visible"/>
                                      </p:to>
                                    </p:set>
                                    <p:animEffect transition="in" filter="fade">
                                      <p:cBhvr>
                                        <p:cTn id="160" dur="2000"/>
                                        <p:tgtEl>
                                          <p:spTgt spid="56"/>
                                        </p:tgtEl>
                                      </p:cBhvr>
                                    </p:animEffect>
                                  </p:childTnLst>
                                </p:cTn>
                              </p:par>
                              <p:par>
                                <p:cTn id="161" presetID="10" presetClass="entr" presetSubtype="0" fill="hold" nodeType="withEffect">
                                  <p:stCondLst>
                                    <p:cond delay="0"/>
                                  </p:stCondLst>
                                  <p:childTnLst>
                                    <p:set>
                                      <p:cBhvr>
                                        <p:cTn id="162" dur="1" fill="hold">
                                          <p:stCondLst>
                                            <p:cond delay="0"/>
                                          </p:stCondLst>
                                        </p:cTn>
                                        <p:tgtEl>
                                          <p:spTgt spid="40"/>
                                        </p:tgtEl>
                                        <p:attrNameLst>
                                          <p:attrName>style.visibility</p:attrName>
                                        </p:attrNameLst>
                                      </p:cBhvr>
                                      <p:to>
                                        <p:strVal val="visible"/>
                                      </p:to>
                                    </p:set>
                                    <p:animEffect transition="in" filter="fade">
                                      <p:cBhvr>
                                        <p:cTn id="163" dur="2000"/>
                                        <p:tgtEl>
                                          <p:spTgt spid="40"/>
                                        </p:tgtEl>
                                      </p:cBhvr>
                                    </p:animEffect>
                                  </p:childTnLst>
                                </p:cTn>
                              </p:par>
                              <p:par>
                                <p:cTn id="164" presetID="10" presetClass="entr" presetSubtype="0" fill="hold" nodeType="withEffect">
                                  <p:stCondLst>
                                    <p:cond delay="0"/>
                                  </p:stCondLst>
                                  <p:childTnLst>
                                    <p:set>
                                      <p:cBhvr>
                                        <p:cTn id="165" dur="1" fill="hold">
                                          <p:stCondLst>
                                            <p:cond delay="0"/>
                                          </p:stCondLst>
                                        </p:cTn>
                                        <p:tgtEl>
                                          <p:spTgt spid="57"/>
                                        </p:tgtEl>
                                        <p:attrNameLst>
                                          <p:attrName>style.visibility</p:attrName>
                                        </p:attrNameLst>
                                      </p:cBhvr>
                                      <p:to>
                                        <p:strVal val="visible"/>
                                      </p:to>
                                    </p:set>
                                    <p:animEffect transition="in" filter="fade">
                                      <p:cBhvr>
                                        <p:cTn id="166" dur="2000"/>
                                        <p:tgtEl>
                                          <p:spTgt spid="57"/>
                                        </p:tgtEl>
                                      </p:cBhvr>
                                    </p:animEffect>
                                  </p:childTnLst>
                                </p:cTn>
                              </p:par>
                              <p:par>
                                <p:cTn id="167" presetID="10" presetClass="entr" presetSubtype="0" fill="hold" nodeType="withEffect">
                                  <p:stCondLst>
                                    <p:cond delay="0"/>
                                  </p:stCondLst>
                                  <p:childTnLst>
                                    <p:set>
                                      <p:cBhvr>
                                        <p:cTn id="168" dur="1" fill="hold">
                                          <p:stCondLst>
                                            <p:cond delay="0"/>
                                          </p:stCondLst>
                                        </p:cTn>
                                        <p:tgtEl>
                                          <p:spTgt spid="42"/>
                                        </p:tgtEl>
                                        <p:attrNameLst>
                                          <p:attrName>style.visibility</p:attrName>
                                        </p:attrNameLst>
                                      </p:cBhvr>
                                      <p:to>
                                        <p:strVal val="visible"/>
                                      </p:to>
                                    </p:set>
                                    <p:animEffect transition="in" filter="fade">
                                      <p:cBhvr>
                                        <p:cTn id="169" dur="2000"/>
                                        <p:tgtEl>
                                          <p:spTgt spid="42"/>
                                        </p:tgtEl>
                                      </p:cBhvr>
                                    </p:animEffect>
                                  </p:childTnLst>
                                </p:cTn>
                              </p:par>
                              <p:par>
                                <p:cTn id="170" presetID="10" presetClass="entr" presetSubtype="0" fill="hold" nodeType="withEffect">
                                  <p:stCondLst>
                                    <p:cond delay="0"/>
                                  </p:stCondLst>
                                  <p:childTnLst>
                                    <p:set>
                                      <p:cBhvr>
                                        <p:cTn id="171" dur="1" fill="hold">
                                          <p:stCondLst>
                                            <p:cond delay="0"/>
                                          </p:stCondLst>
                                        </p:cTn>
                                        <p:tgtEl>
                                          <p:spTgt spid="58"/>
                                        </p:tgtEl>
                                        <p:attrNameLst>
                                          <p:attrName>style.visibility</p:attrName>
                                        </p:attrNameLst>
                                      </p:cBhvr>
                                      <p:to>
                                        <p:strVal val="visible"/>
                                      </p:to>
                                    </p:set>
                                    <p:animEffect transition="in" filter="fade">
                                      <p:cBhvr>
                                        <p:cTn id="172" dur="2000"/>
                                        <p:tgtEl>
                                          <p:spTgt spid="58"/>
                                        </p:tgtEl>
                                      </p:cBhvr>
                                    </p:animEffect>
                                  </p:childTnLst>
                                </p:cTn>
                              </p:par>
                              <p:par>
                                <p:cTn id="173" presetID="10" presetClass="entr" presetSubtype="0" fill="hold" nodeType="withEffect">
                                  <p:stCondLst>
                                    <p:cond delay="0"/>
                                  </p:stCondLst>
                                  <p:childTnLst>
                                    <p:set>
                                      <p:cBhvr>
                                        <p:cTn id="174" dur="1" fill="hold">
                                          <p:stCondLst>
                                            <p:cond delay="0"/>
                                          </p:stCondLst>
                                        </p:cTn>
                                        <p:tgtEl>
                                          <p:spTgt spid="44"/>
                                        </p:tgtEl>
                                        <p:attrNameLst>
                                          <p:attrName>style.visibility</p:attrName>
                                        </p:attrNameLst>
                                      </p:cBhvr>
                                      <p:to>
                                        <p:strVal val="visible"/>
                                      </p:to>
                                    </p:set>
                                    <p:animEffect transition="in" filter="fade">
                                      <p:cBhvr>
                                        <p:cTn id="175" dur="2000"/>
                                        <p:tgtEl>
                                          <p:spTgt spid="44"/>
                                        </p:tgtEl>
                                      </p:cBhvr>
                                    </p:animEffect>
                                  </p:childTnLst>
                                </p:cTn>
                              </p:par>
                              <p:par>
                                <p:cTn id="176" presetID="10" presetClass="entr" presetSubtype="0" fill="hold" nodeType="withEffect">
                                  <p:stCondLst>
                                    <p:cond delay="0"/>
                                  </p:stCondLst>
                                  <p:childTnLst>
                                    <p:set>
                                      <p:cBhvr>
                                        <p:cTn id="177" dur="1" fill="hold">
                                          <p:stCondLst>
                                            <p:cond delay="0"/>
                                          </p:stCondLst>
                                        </p:cTn>
                                        <p:tgtEl>
                                          <p:spTgt spid="59"/>
                                        </p:tgtEl>
                                        <p:attrNameLst>
                                          <p:attrName>style.visibility</p:attrName>
                                        </p:attrNameLst>
                                      </p:cBhvr>
                                      <p:to>
                                        <p:strVal val="visible"/>
                                      </p:to>
                                    </p:set>
                                    <p:animEffect transition="in" filter="fade">
                                      <p:cBhvr>
                                        <p:cTn id="178" dur="2000"/>
                                        <p:tgtEl>
                                          <p:spTgt spid="59"/>
                                        </p:tgtEl>
                                      </p:cBhvr>
                                    </p:animEffect>
                                  </p:childTnLst>
                                </p:cTn>
                              </p:par>
                              <p:par>
                                <p:cTn id="179" presetID="10" presetClass="entr" presetSubtype="0" fill="hold" nodeType="withEffect">
                                  <p:stCondLst>
                                    <p:cond delay="0"/>
                                  </p:stCondLst>
                                  <p:childTnLst>
                                    <p:set>
                                      <p:cBhvr>
                                        <p:cTn id="180" dur="1" fill="hold">
                                          <p:stCondLst>
                                            <p:cond delay="0"/>
                                          </p:stCondLst>
                                        </p:cTn>
                                        <p:tgtEl>
                                          <p:spTgt spid="48"/>
                                        </p:tgtEl>
                                        <p:attrNameLst>
                                          <p:attrName>style.visibility</p:attrName>
                                        </p:attrNameLst>
                                      </p:cBhvr>
                                      <p:to>
                                        <p:strVal val="visible"/>
                                      </p:to>
                                    </p:set>
                                    <p:animEffect transition="in" filter="fade">
                                      <p:cBhvr>
                                        <p:cTn id="181" dur="2000"/>
                                        <p:tgtEl>
                                          <p:spTgt spid="48"/>
                                        </p:tgtEl>
                                      </p:cBhvr>
                                    </p:animEffect>
                                  </p:childTnLst>
                                </p:cTn>
                              </p:par>
                              <p:par>
                                <p:cTn id="182" presetID="10" presetClass="entr" presetSubtype="0" fill="hold" nodeType="withEffect">
                                  <p:stCondLst>
                                    <p:cond delay="0"/>
                                  </p:stCondLst>
                                  <p:childTnLst>
                                    <p:set>
                                      <p:cBhvr>
                                        <p:cTn id="183" dur="1" fill="hold">
                                          <p:stCondLst>
                                            <p:cond delay="0"/>
                                          </p:stCondLst>
                                        </p:cTn>
                                        <p:tgtEl>
                                          <p:spTgt spid="60"/>
                                        </p:tgtEl>
                                        <p:attrNameLst>
                                          <p:attrName>style.visibility</p:attrName>
                                        </p:attrNameLst>
                                      </p:cBhvr>
                                      <p:to>
                                        <p:strVal val="visible"/>
                                      </p:to>
                                    </p:set>
                                    <p:animEffect transition="in" filter="fade">
                                      <p:cBhvr>
                                        <p:cTn id="184" dur="2000"/>
                                        <p:tgtEl>
                                          <p:spTgt spid="60"/>
                                        </p:tgtEl>
                                      </p:cBhvr>
                                    </p:animEffect>
                                  </p:childTnLst>
                                </p:cTn>
                              </p:par>
                              <p:par>
                                <p:cTn id="185" presetID="10" presetClass="entr" presetSubtype="0" fill="hold" nodeType="withEffect">
                                  <p:stCondLst>
                                    <p:cond delay="0"/>
                                  </p:stCondLst>
                                  <p:childTnLst>
                                    <p:set>
                                      <p:cBhvr>
                                        <p:cTn id="186" dur="1" fill="hold">
                                          <p:stCondLst>
                                            <p:cond delay="0"/>
                                          </p:stCondLst>
                                        </p:cTn>
                                        <p:tgtEl>
                                          <p:spTgt spid="50"/>
                                        </p:tgtEl>
                                        <p:attrNameLst>
                                          <p:attrName>style.visibility</p:attrName>
                                        </p:attrNameLst>
                                      </p:cBhvr>
                                      <p:to>
                                        <p:strVal val="visible"/>
                                      </p:to>
                                    </p:set>
                                    <p:animEffect transition="in" filter="fade">
                                      <p:cBhvr>
                                        <p:cTn id="187" dur="2000"/>
                                        <p:tgtEl>
                                          <p:spTgt spid="50"/>
                                        </p:tgtEl>
                                      </p:cBhvr>
                                    </p:animEffect>
                                  </p:childTnLst>
                                </p:cTn>
                              </p:par>
                              <p:par>
                                <p:cTn id="188" presetID="10" presetClass="entr" presetSubtype="0" fill="hold" nodeType="withEffect">
                                  <p:stCondLst>
                                    <p:cond delay="0"/>
                                  </p:stCondLst>
                                  <p:childTnLst>
                                    <p:set>
                                      <p:cBhvr>
                                        <p:cTn id="189" dur="1" fill="hold">
                                          <p:stCondLst>
                                            <p:cond delay="0"/>
                                          </p:stCondLst>
                                        </p:cTn>
                                        <p:tgtEl>
                                          <p:spTgt spid="61"/>
                                        </p:tgtEl>
                                        <p:attrNameLst>
                                          <p:attrName>style.visibility</p:attrName>
                                        </p:attrNameLst>
                                      </p:cBhvr>
                                      <p:to>
                                        <p:strVal val="visible"/>
                                      </p:to>
                                    </p:set>
                                    <p:animEffect transition="in" filter="fade">
                                      <p:cBhvr>
                                        <p:cTn id="190" dur="2000"/>
                                        <p:tgtEl>
                                          <p:spTgt spid="61"/>
                                        </p:tgtEl>
                                      </p:cBhvr>
                                    </p:animEffect>
                                  </p:childTnLst>
                                </p:cTn>
                              </p:par>
                              <p:par>
                                <p:cTn id="191" presetID="10" presetClass="entr" presetSubtype="0" fill="hold" nodeType="withEffect">
                                  <p:stCondLst>
                                    <p:cond delay="0"/>
                                  </p:stCondLst>
                                  <p:childTnLst>
                                    <p:set>
                                      <p:cBhvr>
                                        <p:cTn id="192" dur="1" fill="hold">
                                          <p:stCondLst>
                                            <p:cond delay="0"/>
                                          </p:stCondLst>
                                        </p:cTn>
                                        <p:tgtEl>
                                          <p:spTgt spid="51"/>
                                        </p:tgtEl>
                                        <p:attrNameLst>
                                          <p:attrName>style.visibility</p:attrName>
                                        </p:attrNameLst>
                                      </p:cBhvr>
                                      <p:to>
                                        <p:strVal val="visible"/>
                                      </p:to>
                                    </p:set>
                                    <p:animEffect transition="in" filter="fade">
                                      <p:cBhvr>
                                        <p:cTn id="193" dur="2000"/>
                                        <p:tgtEl>
                                          <p:spTgt spid="51"/>
                                        </p:tgtEl>
                                      </p:cBhvr>
                                    </p:animEffect>
                                  </p:childTnLst>
                                </p:cTn>
                              </p:par>
                              <p:par>
                                <p:cTn id="194" presetID="10" presetClass="entr" presetSubtype="0" fill="hold" nodeType="withEffect">
                                  <p:stCondLst>
                                    <p:cond delay="0"/>
                                  </p:stCondLst>
                                  <p:childTnLst>
                                    <p:set>
                                      <p:cBhvr>
                                        <p:cTn id="195" dur="1" fill="hold">
                                          <p:stCondLst>
                                            <p:cond delay="0"/>
                                          </p:stCondLst>
                                        </p:cTn>
                                        <p:tgtEl>
                                          <p:spTgt spid="62"/>
                                        </p:tgtEl>
                                        <p:attrNameLst>
                                          <p:attrName>style.visibility</p:attrName>
                                        </p:attrNameLst>
                                      </p:cBhvr>
                                      <p:to>
                                        <p:strVal val="visible"/>
                                      </p:to>
                                    </p:set>
                                    <p:animEffect transition="in" filter="fade">
                                      <p:cBhvr>
                                        <p:cTn id="196" dur="2000"/>
                                        <p:tgtEl>
                                          <p:spTgt spid="62"/>
                                        </p:tgtEl>
                                      </p:cBhvr>
                                    </p:animEffect>
                                  </p:childTnLst>
                                </p:cTn>
                              </p:par>
                              <p:par>
                                <p:cTn id="197" presetID="10" presetClass="entr" presetSubtype="0" fill="hold" nodeType="withEffect">
                                  <p:stCondLst>
                                    <p:cond delay="0"/>
                                  </p:stCondLst>
                                  <p:childTnLst>
                                    <p:set>
                                      <p:cBhvr>
                                        <p:cTn id="198" dur="1" fill="hold">
                                          <p:stCondLst>
                                            <p:cond delay="0"/>
                                          </p:stCondLst>
                                        </p:cTn>
                                        <p:tgtEl>
                                          <p:spTgt spid="52"/>
                                        </p:tgtEl>
                                        <p:attrNameLst>
                                          <p:attrName>style.visibility</p:attrName>
                                        </p:attrNameLst>
                                      </p:cBhvr>
                                      <p:to>
                                        <p:strVal val="visible"/>
                                      </p:to>
                                    </p:set>
                                    <p:animEffect transition="in" filter="fade">
                                      <p:cBhvr>
                                        <p:cTn id="199" dur="2000"/>
                                        <p:tgtEl>
                                          <p:spTgt spid="52"/>
                                        </p:tgtEl>
                                      </p:cBhvr>
                                    </p:animEffect>
                                  </p:childTnLst>
                                </p:cTn>
                              </p:par>
                              <p:par>
                                <p:cTn id="200" presetID="10" presetClass="entr" presetSubtype="0" fill="hold" nodeType="withEffect">
                                  <p:stCondLst>
                                    <p:cond delay="0"/>
                                  </p:stCondLst>
                                  <p:childTnLst>
                                    <p:set>
                                      <p:cBhvr>
                                        <p:cTn id="201" dur="1" fill="hold">
                                          <p:stCondLst>
                                            <p:cond delay="0"/>
                                          </p:stCondLst>
                                        </p:cTn>
                                        <p:tgtEl>
                                          <p:spTgt spid="63"/>
                                        </p:tgtEl>
                                        <p:attrNameLst>
                                          <p:attrName>style.visibility</p:attrName>
                                        </p:attrNameLst>
                                      </p:cBhvr>
                                      <p:to>
                                        <p:strVal val="visible"/>
                                      </p:to>
                                    </p:set>
                                    <p:animEffect transition="in" filter="fade">
                                      <p:cBhvr>
                                        <p:cTn id="202" dur="2000"/>
                                        <p:tgtEl>
                                          <p:spTgt spid="63"/>
                                        </p:tgtEl>
                                      </p:cBhvr>
                                    </p:animEffect>
                                  </p:childTnLst>
                                </p:cTn>
                              </p:par>
                              <p:par>
                                <p:cTn id="203" presetID="10" presetClass="entr" presetSubtype="0" fill="hold" nodeType="withEffect">
                                  <p:stCondLst>
                                    <p:cond delay="0"/>
                                  </p:stCondLst>
                                  <p:childTnLst>
                                    <p:set>
                                      <p:cBhvr>
                                        <p:cTn id="204" dur="1" fill="hold">
                                          <p:stCondLst>
                                            <p:cond delay="0"/>
                                          </p:stCondLst>
                                        </p:cTn>
                                        <p:tgtEl>
                                          <p:spTgt spid="53"/>
                                        </p:tgtEl>
                                        <p:attrNameLst>
                                          <p:attrName>style.visibility</p:attrName>
                                        </p:attrNameLst>
                                      </p:cBhvr>
                                      <p:to>
                                        <p:strVal val="visible"/>
                                      </p:to>
                                    </p:set>
                                    <p:animEffect transition="in" filter="fade">
                                      <p:cBhvr>
                                        <p:cTn id="205" dur="2000"/>
                                        <p:tgtEl>
                                          <p:spTgt spid="53"/>
                                        </p:tgtEl>
                                      </p:cBhvr>
                                    </p:animEffect>
                                  </p:childTnLst>
                                </p:cTn>
                              </p:par>
                              <p:par>
                                <p:cTn id="206" presetID="10" presetClass="entr" presetSubtype="0" fill="hold" nodeType="withEffect">
                                  <p:stCondLst>
                                    <p:cond delay="0"/>
                                  </p:stCondLst>
                                  <p:childTnLst>
                                    <p:set>
                                      <p:cBhvr>
                                        <p:cTn id="207" dur="1" fill="hold">
                                          <p:stCondLst>
                                            <p:cond delay="0"/>
                                          </p:stCondLst>
                                        </p:cTn>
                                        <p:tgtEl>
                                          <p:spTgt spid="146"/>
                                        </p:tgtEl>
                                        <p:attrNameLst>
                                          <p:attrName>style.visibility</p:attrName>
                                        </p:attrNameLst>
                                      </p:cBhvr>
                                      <p:to>
                                        <p:strVal val="visible"/>
                                      </p:to>
                                    </p:set>
                                    <p:animEffect transition="in" filter="fade">
                                      <p:cBhvr>
                                        <p:cTn id="208" dur="2000"/>
                                        <p:tgtEl>
                                          <p:spTgt spid="146"/>
                                        </p:tgtEl>
                                      </p:cBhvr>
                                    </p:animEffect>
                                  </p:childTnLst>
                                </p:cTn>
                              </p:par>
                              <p:par>
                                <p:cTn id="209" presetID="10" presetClass="entr" presetSubtype="0" fill="hold" nodeType="withEffect">
                                  <p:stCondLst>
                                    <p:cond delay="0"/>
                                  </p:stCondLst>
                                  <p:childTnLst>
                                    <p:set>
                                      <p:cBhvr>
                                        <p:cTn id="210" dur="1" fill="hold">
                                          <p:stCondLst>
                                            <p:cond delay="0"/>
                                          </p:stCondLst>
                                        </p:cTn>
                                        <p:tgtEl>
                                          <p:spTgt spid="145"/>
                                        </p:tgtEl>
                                        <p:attrNameLst>
                                          <p:attrName>style.visibility</p:attrName>
                                        </p:attrNameLst>
                                      </p:cBhvr>
                                      <p:to>
                                        <p:strVal val="visible"/>
                                      </p:to>
                                    </p:set>
                                    <p:animEffect transition="in" filter="fade">
                                      <p:cBhvr>
                                        <p:cTn id="211" dur="2000"/>
                                        <p:tgtEl>
                                          <p:spTgt spid="145"/>
                                        </p:tgtEl>
                                      </p:cBhvr>
                                    </p:animEffect>
                                  </p:childTnLst>
                                </p:cTn>
                              </p:par>
                            </p:childTnLst>
                          </p:cTn>
                        </p:par>
                      </p:childTnLst>
                    </p:cTn>
                  </p:par>
                  <p:par>
                    <p:cTn id="212" fill="hold">
                      <p:stCondLst>
                        <p:cond delay="indefinite"/>
                      </p:stCondLst>
                      <p:childTnLst>
                        <p:par>
                          <p:cTn id="213" fill="hold">
                            <p:stCondLst>
                              <p:cond delay="0"/>
                            </p:stCondLst>
                            <p:childTnLst>
                              <p:par>
                                <p:cTn id="214" presetID="10" presetClass="entr" presetSubtype="0" fill="hold" nodeType="clickEffect">
                                  <p:stCondLst>
                                    <p:cond delay="0"/>
                                  </p:stCondLst>
                                  <p:childTnLst>
                                    <p:set>
                                      <p:cBhvr>
                                        <p:cTn id="215" dur="1" fill="hold">
                                          <p:stCondLst>
                                            <p:cond delay="0"/>
                                          </p:stCondLst>
                                        </p:cTn>
                                        <p:tgtEl>
                                          <p:spTgt spid="126"/>
                                        </p:tgtEl>
                                        <p:attrNameLst>
                                          <p:attrName>style.visibility</p:attrName>
                                        </p:attrNameLst>
                                      </p:cBhvr>
                                      <p:to>
                                        <p:strVal val="visible"/>
                                      </p:to>
                                    </p:set>
                                    <p:animEffect transition="in" filter="fade">
                                      <p:cBhvr>
                                        <p:cTn id="216" dur="2000"/>
                                        <p:tgtEl>
                                          <p:spTgt spid="126"/>
                                        </p:tgtEl>
                                      </p:cBhvr>
                                    </p:animEffect>
                                  </p:childTnLst>
                                </p:cTn>
                              </p:par>
                              <p:par>
                                <p:cTn id="217" presetID="10" presetClass="entr" presetSubtype="0" fill="hold" nodeType="withEffect">
                                  <p:stCondLst>
                                    <p:cond delay="0"/>
                                  </p:stCondLst>
                                  <p:childTnLst>
                                    <p:set>
                                      <p:cBhvr>
                                        <p:cTn id="218" dur="1" fill="hold">
                                          <p:stCondLst>
                                            <p:cond delay="0"/>
                                          </p:stCondLst>
                                        </p:cTn>
                                        <p:tgtEl>
                                          <p:spTgt spid="49"/>
                                        </p:tgtEl>
                                        <p:attrNameLst>
                                          <p:attrName>style.visibility</p:attrName>
                                        </p:attrNameLst>
                                      </p:cBhvr>
                                      <p:to>
                                        <p:strVal val="visible"/>
                                      </p:to>
                                    </p:set>
                                    <p:animEffect transition="in" filter="fade">
                                      <p:cBhvr>
                                        <p:cTn id="219" dur="2000"/>
                                        <p:tgtEl>
                                          <p:spTgt spid="49"/>
                                        </p:tgtEl>
                                      </p:cBhvr>
                                    </p:animEffect>
                                  </p:childTnLst>
                                </p:cTn>
                              </p:par>
                              <p:par>
                                <p:cTn id="220" presetID="10" presetClass="entr" presetSubtype="0" fill="hold" nodeType="withEffect">
                                  <p:stCondLst>
                                    <p:cond delay="0"/>
                                  </p:stCondLst>
                                  <p:childTnLst>
                                    <p:set>
                                      <p:cBhvr>
                                        <p:cTn id="221" dur="1" fill="hold">
                                          <p:stCondLst>
                                            <p:cond delay="0"/>
                                          </p:stCondLst>
                                        </p:cTn>
                                        <p:tgtEl>
                                          <p:spTgt spid="41"/>
                                        </p:tgtEl>
                                        <p:attrNameLst>
                                          <p:attrName>style.visibility</p:attrName>
                                        </p:attrNameLst>
                                      </p:cBhvr>
                                      <p:to>
                                        <p:strVal val="visible"/>
                                      </p:to>
                                    </p:set>
                                    <p:animEffect transition="in" filter="fade">
                                      <p:cBhvr>
                                        <p:cTn id="222" dur="2000"/>
                                        <p:tgtEl>
                                          <p:spTgt spid="41"/>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128"/>
                                        </p:tgtEl>
                                        <p:attrNameLst>
                                          <p:attrName>style.visibility</p:attrName>
                                        </p:attrNameLst>
                                      </p:cBhvr>
                                      <p:to>
                                        <p:strVal val="visible"/>
                                      </p:to>
                                    </p:set>
                                    <p:animEffect transition="in" filter="fade">
                                      <p:cBhvr>
                                        <p:cTn id="225" dur="2000"/>
                                        <p:tgtEl>
                                          <p:spTgt spid="128"/>
                                        </p:tgtEl>
                                      </p:cBhvr>
                                    </p:animEffect>
                                  </p:childTnLst>
                                </p:cTn>
                              </p:par>
                              <p:par>
                                <p:cTn id="226" presetID="10" presetClass="entr" presetSubtype="0" fill="hold" nodeType="withEffect">
                                  <p:stCondLst>
                                    <p:cond delay="0"/>
                                  </p:stCondLst>
                                  <p:childTnLst>
                                    <p:set>
                                      <p:cBhvr>
                                        <p:cTn id="227" dur="1" fill="hold">
                                          <p:stCondLst>
                                            <p:cond delay="0"/>
                                          </p:stCondLst>
                                        </p:cTn>
                                        <p:tgtEl>
                                          <p:spTgt spid="121"/>
                                        </p:tgtEl>
                                        <p:attrNameLst>
                                          <p:attrName>style.visibility</p:attrName>
                                        </p:attrNameLst>
                                      </p:cBhvr>
                                      <p:to>
                                        <p:strVal val="visible"/>
                                      </p:to>
                                    </p:set>
                                    <p:animEffect transition="in" filter="fade">
                                      <p:cBhvr>
                                        <p:cTn id="228" dur="2000"/>
                                        <p:tgtEl>
                                          <p:spTgt spid="121"/>
                                        </p:tgtEl>
                                      </p:cBhvr>
                                    </p:animEffect>
                                  </p:childTnLst>
                                </p:cTn>
                              </p:par>
                              <p:par>
                                <p:cTn id="229" presetID="10" presetClass="entr" presetSubtype="0" fill="hold" nodeType="withEffect">
                                  <p:stCondLst>
                                    <p:cond delay="0"/>
                                  </p:stCondLst>
                                  <p:childTnLst>
                                    <p:set>
                                      <p:cBhvr>
                                        <p:cTn id="230" dur="1" fill="hold">
                                          <p:stCondLst>
                                            <p:cond delay="0"/>
                                          </p:stCondLst>
                                        </p:cTn>
                                        <p:tgtEl>
                                          <p:spTgt spid="122"/>
                                        </p:tgtEl>
                                        <p:attrNameLst>
                                          <p:attrName>style.visibility</p:attrName>
                                        </p:attrNameLst>
                                      </p:cBhvr>
                                      <p:to>
                                        <p:strVal val="visible"/>
                                      </p:to>
                                    </p:set>
                                    <p:animEffect transition="in" filter="fade">
                                      <p:cBhvr>
                                        <p:cTn id="231" dur="2000"/>
                                        <p:tgtEl>
                                          <p:spTgt spid="122"/>
                                        </p:tgtEl>
                                      </p:cBhvr>
                                    </p:animEffect>
                                  </p:childTnLst>
                                </p:cTn>
                              </p:par>
                              <p:par>
                                <p:cTn id="232" presetID="10" presetClass="entr" presetSubtype="0" fill="hold" nodeType="withEffect">
                                  <p:stCondLst>
                                    <p:cond delay="0"/>
                                  </p:stCondLst>
                                  <p:childTnLst>
                                    <p:set>
                                      <p:cBhvr>
                                        <p:cTn id="233" dur="1" fill="hold">
                                          <p:stCondLst>
                                            <p:cond delay="0"/>
                                          </p:stCondLst>
                                        </p:cTn>
                                        <p:tgtEl>
                                          <p:spTgt spid="43"/>
                                        </p:tgtEl>
                                        <p:attrNameLst>
                                          <p:attrName>style.visibility</p:attrName>
                                        </p:attrNameLst>
                                      </p:cBhvr>
                                      <p:to>
                                        <p:strVal val="visible"/>
                                      </p:to>
                                    </p:set>
                                    <p:animEffect transition="in" filter="fade">
                                      <p:cBhvr>
                                        <p:cTn id="234" dur="2000"/>
                                        <p:tgtEl>
                                          <p:spTgt spid="43"/>
                                        </p:tgtEl>
                                      </p:cBhvr>
                                    </p:animEffect>
                                  </p:childTnLst>
                                </p:cTn>
                              </p:par>
                              <p:par>
                                <p:cTn id="235" presetID="10" presetClass="entr" presetSubtype="0" fill="hold" nodeType="withEffect">
                                  <p:stCondLst>
                                    <p:cond delay="0"/>
                                  </p:stCondLst>
                                  <p:childTnLst>
                                    <p:set>
                                      <p:cBhvr>
                                        <p:cTn id="236" dur="1" fill="hold">
                                          <p:stCondLst>
                                            <p:cond delay="0"/>
                                          </p:stCondLst>
                                        </p:cTn>
                                        <p:tgtEl>
                                          <p:spTgt spid="123"/>
                                        </p:tgtEl>
                                        <p:attrNameLst>
                                          <p:attrName>style.visibility</p:attrName>
                                        </p:attrNameLst>
                                      </p:cBhvr>
                                      <p:to>
                                        <p:strVal val="visible"/>
                                      </p:to>
                                    </p:set>
                                    <p:animEffect transition="in" filter="fade">
                                      <p:cBhvr>
                                        <p:cTn id="237" dur="2000"/>
                                        <p:tgtEl>
                                          <p:spTgt spid="123"/>
                                        </p:tgtEl>
                                      </p:cBhvr>
                                    </p:animEffect>
                                  </p:childTnLst>
                                </p:cTn>
                              </p:par>
                              <p:par>
                                <p:cTn id="238" presetID="10" presetClass="entr" presetSubtype="0" fill="hold" nodeType="withEffect">
                                  <p:stCondLst>
                                    <p:cond delay="0"/>
                                  </p:stCondLst>
                                  <p:childTnLst>
                                    <p:set>
                                      <p:cBhvr>
                                        <p:cTn id="239" dur="1" fill="hold">
                                          <p:stCondLst>
                                            <p:cond delay="0"/>
                                          </p:stCondLst>
                                        </p:cTn>
                                        <p:tgtEl>
                                          <p:spTgt spid="45"/>
                                        </p:tgtEl>
                                        <p:attrNameLst>
                                          <p:attrName>style.visibility</p:attrName>
                                        </p:attrNameLst>
                                      </p:cBhvr>
                                      <p:to>
                                        <p:strVal val="visible"/>
                                      </p:to>
                                    </p:set>
                                    <p:animEffect transition="in" filter="fade">
                                      <p:cBhvr>
                                        <p:cTn id="240" dur="2000"/>
                                        <p:tgtEl>
                                          <p:spTgt spid="45"/>
                                        </p:tgtEl>
                                      </p:cBhvr>
                                    </p:animEffect>
                                  </p:childTnLst>
                                </p:cTn>
                              </p:par>
                              <p:par>
                                <p:cTn id="241" presetID="10" presetClass="entr" presetSubtype="0" fill="hold" nodeType="withEffect">
                                  <p:stCondLst>
                                    <p:cond delay="0"/>
                                  </p:stCondLst>
                                  <p:childTnLst>
                                    <p:set>
                                      <p:cBhvr>
                                        <p:cTn id="242" dur="1" fill="hold">
                                          <p:stCondLst>
                                            <p:cond delay="0"/>
                                          </p:stCondLst>
                                        </p:cTn>
                                        <p:tgtEl>
                                          <p:spTgt spid="124"/>
                                        </p:tgtEl>
                                        <p:attrNameLst>
                                          <p:attrName>style.visibility</p:attrName>
                                        </p:attrNameLst>
                                      </p:cBhvr>
                                      <p:to>
                                        <p:strVal val="visible"/>
                                      </p:to>
                                    </p:set>
                                    <p:animEffect transition="in" filter="fade">
                                      <p:cBhvr>
                                        <p:cTn id="243" dur="2000"/>
                                        <p:tgtEl>
                                          <p:spTgt spid="124"/>
                                        </p:tgtEl>
                                      </p:cBhvr>
                                    </p:animEffect>
                                  </p:childTnLst>
                                </p:cTn>
                              </p:par>
                              <p:par>
                                <p:cTn id="244" presetID="10" presetClass="entr" presetSubtype="0" fill="hold" nodeType="withEffect">
                                  <p:stCondLst>
                                    <p:cond delay="0"/>
                                  </p:stCondLst>
                                  <p:childTnLst>
                                    <p:set>
                                      <p:cBhvr>
                                        <p:cTn id="245" dur="1" fill="hold">
                                          <p:stCondLst>
                                            <p:cond delay="0"/>
                                          </p:stCondLst>
                                        </p:cTn>
                                        <p:tgtEl>
                                          <p:spTgt spid="46"/>
                                        </p:tgtEl>
                                        <p:attrNameLst>
                                          <p:attrName>style.visibility</p:attrName>
                                        </p:attrNameLst>
                                      </p:cBhvr>
                                      <p:to>
                                        <p:strVal val="visible"/>
                                      </p:to>
                                    </p:set>
                                    <p:animEffect transition="in" filter="fade">
                                      <p:cBhvr>
                                        <p:cTn id="246" dur="2000"/>
                                        <p:tgtEl>
                                          <p:spTgt spid="46"/>
                                        </p:tgtEl>
                                      </p:cBhvr>
                                    </p:animEffect>
                                  </p:childTnLst>
                                </p:cTn>
                              </p:par>
                              <p:par>
                                <p:cTn id="247" presetID="10" presetClass="entr" presetSubtype="0" fill="hold" nodeType="withEffect">
                                  <p:stCondLst>
                                    <p:cond delay="0"/>
                                  </p:stCondLst>
                                  <p:childTnLst>
                                    <p:set>
                                      <p:cBhvr>
                                        <p:cTn id="248" dur="1" fill="hold">
                                          <p:stCondLst>
                                            <p:cond delay="0"/>
                                          </p:stCondLst>
                                        </p:cTn>
                                        <p:tgtEl>
                                          <p:spTgt spid="125"/>
                                        </p:tgtEl>
                                        <p:attrNameLst>
                                          <p:attrName>style.visibility</p:attrName>
                                        </p:attrNameLst>
                                      </p:cBhvr>
                                      <p:to>
                                        <p:strVal val="visible"/>
                                      </p:to>
                                    </p:set>
                                    <p:animEffect transition="in" filter="fade">
                                      <p:cBhvr>
                                        <p:cTn id="249" dur="2000"/>
                                        <p:tgtEl>
                                          <p:spTgt spid="125"/>
                                        </p:tgtEl>
                                      </p:cBhvr>
                                    </p:animEffect>
                                  </p:childTnLst>
                                </p:cTn>
                              </p:par>
                              <p:par>
                                <p:cTn id="250" presetID="10" presetClass="entr" presetSubtype="0" fill="hold" nodeType="withEffect">
                                  <p:stCondLst>
                                    <p:cond delay="0"/>
                                  </p:stCondLst>
                                  <p:childTnLst>
                                    <p:set>
                                      <p:cBhvr>
                                        <p:cTn id="251" dur="1" fill="hold">
                                          <p:stCondLst>
                                            <p:cond delay="0"/>
                                          </p:stCondLst>
                                        </p:cTn>
                                        <p:tgtEl>
                                          <p:spTgt spid="47"/>
                                        </p:tgtEl>
                                        <p:attrNameLst>
                                          <p:attrName>style.visibility</p:attrName>
                                        </p:attrNameLst>
                                      </p:cBhvr>
                                      <p:to>
                                        <p:strVal val="visible"/>
                                      </p:to>
                                    </p:set>
                                    <p:animEffect transition="in" filter="fade">
                                      <p:cBhvr>
                                        <p:cTn id="252" dur="2000"/>
                                        <p:tgtEl>
                                          <p:spTgt spid="47"/>
                                        </p:tgtEl>
                                      </p:cBhvr>
                                    </p:animEffect>
                                  </p:childTnLst>
                                </p:cTn>
                              </p:par>
                            </p:childTnLst>
                          </p:cTn>
                        </p:par>
                      </p:childTnLst>
                    </p:cTn>
                  </p:par>
                  <p:par>
                    <p:cTn id="253" fill="hold">
                      <p:stCondLst>
                        <p:cond delay="indefinite"/>
                      </p:stCondLst>
                      <p:childTnLst>
                        <p:par>
                          <p:cTn id="254" fill="hold">
                            <p:stCondLst>
                              <p:cond delay="0"/>
                            </p:stCondLst>
                            <p:childTnLst>
                              <p:par>
                                <p:cTn id="255" presetID="10" presetClass="entr" presetSubtype="0" fill="hold" grpId="0" nodeType="clickEffect">
                                  <p:stCondLst>
                                    <p:cond delay="0"/>
                                  </p:stCondLst>
                                  <p:childTnLst>
                                    <p:set>
                                      <p:cBhvr>
                                        <p:cTn id="256" dur="1" fill="hold">
                                          <p:stCondLst>
                                            <p:cond delay="0"/>
                                          </p:stCondLst>
                                        </p:cTn>
                                        <p:tgtEl>
                                          <p:spTgt spid="133"/>
                                        </p:tgtEl>
                                        <p:attrNameLst>
                                          <p:attrName>style.visibility</p:attrName>
                                        </p:attrNameLst>
                                      </p:cBhvr>
                                      <p:to>
                                        <p:strVal val="visible"/>
                                      </p:to>
                                    </p:set>
                                    <p:animEffect transition="in" filter="fade">
                                      <p:cBhvr>
                                        <p:cTn id="257" dur="2000"/>
                                        <p:tgtEl>
                                          <p:spTgt spid="133"/>
                                        </p:tgtEl>
                                      </p:cBhvr>
                                    </p:animEffect>
                                  </p:childTnLst>
                                </p:cTn>
                              </p:par>
                              <p:par>
                                <p:cTn id="258" presetID="10" presetClass="entr" presetSubtype="0" fill="hold" nodeType="withEffect">
                                  <p:stCondLst>
                                    <p:cond delay="0"/>
                                  </p:stCondLst>
                                  <p:childTnLst>
                                    <p:set>
                                      <p:cBhvr>
                                        <p:cTn id="259" dur="1" fill="hold">
                                          <p:stCondLst>
                                            <p:cond delay="0"/>
                                          </p:stCondLst>
                                        </p:cTn>
                                        <p:tgtEl>
                                          <p:spTgt spid="134"/>
                                        </p:tgtEl>
                                        <p:attrNameLst>
                                          <p:attrName>style.visibility</p:attrName>
                                        </p:attrNameLst>
                                      </p:cBhvr>
                                      <p:to>
                                        <p:strVal val="visible"/>
                                      </p:to>
                                    </p:set>
                                    <p:animEffect transition="in" filter="fade">
                                      <p:cBhvr>
                                        <p:cTn id="260" dur="2000"/>
                                        <p:tgtEl>
                                          <p:spTgt spid="134"/>
                                        </p:tgtEl>
                                      </p:cBhvr>
                                    </p:animEffect>
                                  </p:childTnLst>
                                </p:cTn>
                              </p:par>
                              <p:par>
                                <p:cTn id="261" presetID="10" presetClass="entr" presetSubtype="0" fill="hold" grpId="0" nodeType="withEffect">
                                  <p:stCondLst>
                                    <p:cond delay="0"/>
                                  </p:stCondLst>
                                  <p:childTnLst>
                                    <p:set>
                                      <p:cBhvr>
                                        <p:cTn id="262" dur="1" fill="hold">
                                          <p:stCondLst>
                                            <p:cond delay="0"/>
                                          </p:stCondLst>
                                        </p:cTn>
                                        <p:tgtEl>
                                          <p:spTgt spid="93"/>
                                        </p:tgtEl>
                                        <p:attrNameLst>
                                          <p:attrName>style.visibility</p:attrName>
                                        </p:attrNameLst>
                                      </p:cBhvr>
                                      <p:to>
                                        <p:strVal val="visible"/>
                                      </p:to>
                                    </p:set>
                                    <p:animEffect transition="in" filter="fade">
                                      <p:cBhvr>
                                        <p:cTn id="263" dur="2000"/>
                                        <p:tgtEl>
                                          <p:spTgt spid="93"/>
                                        </p:tgtEl>
                                      </p:cBhvr>
                                    </p:animEffect>
                                  </p:childTnLst>
                                </p:cTn>
                              </p:par>
                              <p:par>
                                <p:cTn id="264" presetID="10" presetClass="entr" presetSubtype="0" fill="hold" nodeType="withEffect">
                                  <p:stCondLst>
                                    <p:cond delay="0"/>
                                  </p:stCondLst>
                                  <p:childTnLst>
                                    <p:set>
                                      <p:cBhvr>
                                        <p:cTn id="265" dur="1" fill="hold">
                                          <p:stCondLst>
                                            <p:cond delay="0"/>
                                          </p:stCondLst>
                                        </p:cTn>
                                        <p:tgtEl>
                                          <p:spTgt spid="88"/>
                                        </p:tgtEl>
                                        <p:attrNameLst>
                                          <p:attrName>style.visibility</p:attrName>
                                        </p:attrNameLst>
                                      </p:cBhvr>
                                      <p:to>
                                        <p:strVal val="visible"/>
                                      </p:to>
                                    </p:set>
                                    <p:animEffect transition="in" filter="fade">
                                      <p:cBhvr>
                                        <p:cTn id="266" dur="2000"/>
                                        <p:tgtEl>
                                          <p:spTgt spid="88"/>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96"/>
                                        </p:tgtEl>
                                        <p:attrNameLst>
                                          <p:attrName>style.visibility</p:attrName>
                                        </p:attrNameLst>
                                      </p:cBhvr>
                                      <p:to>
                                        <p:strVal val="visible"/>
                                      </p:to>
                                    </p:set>
                                    <p:animEffect transition="in" filter="fade">
                                      <p:cBhvr>
                                        <p:cTn id="269" dur="2000"/>
                                        <p:tgtEl>
                                          <p:spTgt spid="96"/>
                                        </p:tgtEl>
                                      </p:cBhvr>
                                    </p:animEffect>
                                  </p:childTnLst>
                                </p:cTn>
                              </p:par>
                              <p:par>
                                <p:cTn id="270" presetID="10" presetClass="entr" presetSubtype="0" fill="hold" nodeType="withEffect">
                                  <p:stCondLst>
                                    <p:cond delay="0"/>
                                  </p:stCondLst>
                                  <p:childTnLst>
                                    <p:set>
                                      <p:cBhvr>
                                        <p:cTn id="271" dur="1" fill="hold">
                                          <p:stCondLst>
                                            <p:cond delay="0"/>
                                          </p:stCondLst>
                                        </p:cTn>
                                        <p:tgtEl>
                                          <p:spTgt spid="89"/>
                                        </p:tgtEl>
                                        <p:attrNameLst>
                                          <p:attrName>style.visibility</p:attrName>
                                        </p:attrNameLst>
                                      </p:cBhvr>
                                      <p:to>
                                        <p:strVal val="visible"/>
                                      </p:to>
                                    </p:set>
                                    <p:animEffect transition="in" filter="fade">
                                      <p:cBhvr>
                                        <p:cTn id="272" dur="2000"/>
                                        <p:tgtEl>
                                          <p:spTgt spid="89"/>
                                        </p:tgtEl>
                                      </p:cBhvr>
                                    </p:animEffect>
                                  </p:childTnLst>
                                </p:cTn>
                              </p:par>
                              <p:par>
                                <p:cTn id="273" presetID="10" presetClass="entr" presetSubtype="0" fill="hold" grpId="0" nodeType="withEffect">
                                  <p:stCondLst>
                                    <p:cond delay="0"/>
                                  </p:stCondLst>
                                  <p:childTnLst>
                                    <p:set>
                                      <p:cBhvr>
                                        <p:cTn id="274" dur="1" fill="hold">
                                          <p:stCondLst>
                                            <p:cond delay="0"/>
                                          </p:stCondLst>
                                        </p:cTn>
                                        <p:tgtEl>
                                          <p:spTgt spid="97"/>
                                        </p:tgtEl>
                                        <p:attrNameLst>
                                          <p:attrName>style.visibility</p:attrName>
                                        </p:attrNameLst>
                                      </p:cBhvr>
                                      <p:to>
                                        <p:strVal val="visible"/>
                                      </p:to>
                                    </p:set>
                                    <p:animEffect transition="in" filter="fade">
                                      <p:cBhvr>
                                        <p:cTn id="275" dur="2000"/>
                                        <p:tgtEl>
                                          <p:spTgt spid="97"/>
                                        </p:tgtEl>
                                      </p:cBhvr>
                                    </p:animEffect>
                                  </p:childTnLst>
                                </p:cTn>
                              </p:par>
                              <p:par>
                                <p:cTn id="276" presetID="10" presetClass="entr" presetSubtype="0" fill="hold" nodeType="withEffect">
                                  <p:stCondLst>
                                    <p:cond delay="0"/>
                                  </p:stCondLst>
                                  <p:childTnLst>
                                    <p:set>
                                      <p:cBhvr>
                                        <p:cTn id="277" dur="1" fill="hold">
                                          <p:stCondLst>
                                            <p:cond delay="0"/>
                                          </p:stCondLst>
                                        </p:cTn>
                                        <p:tgtEl>
                                          <p:spTgt spid="92"/>
                                        </p:tgtEl>
                                        <p:attrNameLst>
                                          <p:attrName>style.visibility</p:attrName>
                                        </p:attrNameLst>
                                      </p:cBhvr>
                                      <p:to>
                                        <p:strVal val="visible"/>
                                      </p:to>
                                    </p:set>
                                    <p:animEffect transition="in" filter="fade">
                                      <p:cBhvr>
                                        <p:cTn id="278" dur="2000"/>
                                        <p:tgtEl>
                                          <p:spTgt spid="92"/>
                                        </p:tgtEl>
                                      </p:cBhvr>
                                    </p:animEffect>
                                  </p:childTnLst>
                                </p:cTn>
                              </p:par>
                              <p:par>
                                <p:cTn id="279" presetID="10" presetClass="entr" presetSubtype="0" fill="hold" grpId="0" nodeType="withEffect">
                                  <p:stCondLst>
                                    <p:cond delay="0"/>
                                  </p:stCondLst>
                                  <p:childTnLst>
                                    <p:set>
                                      <p:cBhvr>
                                        <p:cTn id="280" dur="1" fill="hold">
                                          <p:stCondLst>
                                            <p:cond delay="0"/>
                                          </p:stCondLst>
                                        </p:cTn>
                                        <p:tgtEl>
                                          <p:spTgt spid="130"/>
                                        </p:tgtEl>
                                        <p:attrNameLst>
                                          <p:attrName>style.visibility</p:attrName>
                                        </p:attrNameLst>
                                      </p:cBhvr>
                                      <p:to>
                                        <p:strVal val="visible"/>
                                      </p:to>
                                    </p:set>
                                    <p:animEffect transition="in" filter="fade">
                                      <p:cBhvr>
                                        <p:cTn id="281" dur="2000"/>
                                        <p:tgtEl>
                                          <p:spTgt spid="130"/>
                                        </p:tgtEl>
                                      </p:cBhvr>
                                    </p:animEffect>
                                  </p:childTnLst>
                                </p:cTn>
                              </p:par>
                              <p:par>
                                <p:cTn id="282" presetID="10" presetClass="entr" presetSubtype="0" fill="hold" nodeType="withEffect">
                                  <p:stCondLst>
                                    <p:cond delay="0"/>
                                  </p:stCondLst>
                                  <p:childTnLst>
                                    <p:set>
                                      <p:cBhvr>
                                        <p:cTn id="283" dur="1" fill="hold">
                                          <p:stCondLst>
                                            <p:cond delay="0"/>
                                          </p:stCondLst>
                                        </p:cTn>
                                        <p:tgtEl>
                                          <p:spTgt spid="129"/>
                                        </p:tgtEl>
                                        <p:attrNameLst>
                                          <p:attrName>style.visibility</p:attrName>
                                        </p:attrNameLst>
                                      </p:cBhvr>
                                      <p:to>
                                        <p:strVal val="visible"/>
                                      </p:to>
                                    </p:set>
                                    <p:animEffect transition="in" filter="fade">
                                      <p:cBhvr>
                                        <p:cTn id="284" dur="2000"/>
                                        <p:tgtEl>
                                          <p:spTgt spid="129"/>
                                        </p:tgtEl>
                                      </p:cBhvr>
                                    </p:animEffect>
                                  </p:childTnLst>
                                </p:cTn>
                              </p:par>
                              <p:par>
                                <p:cTn id="285" presetID="10" presetClass="entr" presetSubtype="0" fill="hold" grpId="0" nodeType="withEffect">
                                  <p:stCondLst>
                                    <p:cond delay="0"/>
                                  </p:stCondLst>
                                  <p:childTnLst>
                                    <p:set>
                                      <p:cBhvr>
                                        <p:cTn id="286" dur="1" fill="hold">
                                          <p:stCondLst>
                                            <p:cond delay="0"/>
                                          </p:stCondLst>
                                        </p:cTn>
                                        <p:tgtEl>
                                          <p:spTgt spid="132"/>
                                        </p:tgtEl>
                                        <p:attrNameLst>
                                          <p:attrName>style.visibility</p:attrName>
                                        </p:attrNameLst>
                                      </p:cBhvr>
                                      <p:to>
                                        <p:strVal val="visible"/>
                                      </p:to>
                                    </p:set>
                                    <p:animEffect transition="in" filter="fade">
                                      <p:cBhvr>
                                        <p:cTn id="287" dur="2000"/>
                                        <p:tgtEl>
                                          <p:spTgt spid="132"/>
                                        </p:tgtEl>
                                      </p:cBhvr>
                                    </p:animEffect>
                                  </p:childTnLst>
                                </p:cTn>
                              </p:par>
                              <p:par>
                                <p:cTn id="288" presetID="10" presetClass="entr" presetSubtype="0" fill="hold" nodeType="withEffect">
                                  <p:stCondLst>
                                    <p:cond delay="0"/>
                                  </p:stCondLst>
                                  <p:childTnLst>
                                    <p:set>
                                      <p:cBhvr>
                                        <p:cTn id="289" dur="1" fill="hold">
                                          <p:stCondLst>
                                            <p:cond delay="0"/>
                                          </p:stCondLst>
                                        </p:cTn>
                                        <p:tgtEl>
                                          <p:spTgt spid="131"/>
                                        </p:tgtEl>
                                        <p:attrNameLst>
                                          <p:attrName>style.visibility</p:attrName>
                                        </p:attrNameLst>
                                      </p:cBhvr>
                                      <p:to>
                                        <p:strVal val="visible"/>
                                      </p:to>
                                    </p:set>
                                    <p:animEffect transition="in" filter="fade">
                                      <p:cBhvr>
                                        <p:cTn id="290" dur="2000"/>
                                        <p:tgtEl>
                                          <p:spTgt spid="131"/>
                                        </p:tgtEl>
                                      </p:cBhvr>
                                    </p:animEffect>
                                  </p:childTnLst>
                                </p:cTn>
                              </p:par>
                              <p:par>
                                <p:cTn id="291" presetID="10" presetClass="entr" presetSubtype="0" fill="hold" nodeType="withEffect">
                                  <p:stCondLst>
                                    <p:cond delay="0"/>
                                  </p:stCondLst>
                                  <p:childTnLst>
                                    <p:set>
                                      <p:cBhvr>
                                        <p:cTn id="292" dur="1" fill="hold">
                                          <p:stCondLst>
                                            <p:cond delay="0"/>
                                          </p:stCondLst>
                                        </p:cTn>
                                        <p:tgtEl>
                                          <p:spTgt spid="119"/>
                                        </p:tgtEl>
                                        <p:attrNameLst>
                                          <p:attrName>style.visibility</p:attrName>
                                        </p:attrNameLst>
                                      </p:cBhvr>
                                      <p:to>
                                        <p:strVal val="visible"/>
                                      </p:to>
                                    </p:set>
                                    <p:animEffect transition="in" filter="fade">
                                      <p:cBhvr>
                                        <p:cTn id="293" dur="2000"/>
                                        <p:tgtEl>
                                          <p:spTgt spid="119"/>
                                        </p:tgtEl>
                                      </p:cBhvr>
                                    </p:animEffect>
                                  </p:childTnLst>
                                </p:cTn>
                              </p:par>
                              <p:par>
                                <p:cTn id="294" presetID="10" presetClass="entr" presetSubtype="0" fill="hold" grpId="0" nodeType="withEffect">
                                  <p:stCondLst>
                                    <p:cond delay="0"/>
                                  </p:stCondLst>
                                  <p:childTnLst>
                                    <p:set>
                                      <p:cBhvr>
                                        <p:cTn id="295" dur="1" fill="hold">
                                          <p:stCondLst>
                                            <p:cond delay="0"/>
                                          </p:stCondLst>
                                        </p:cTn>
                                        <p:tgtEl>
                                          <p:spTgt spid="120"/>
                                        </p:tgtEl>
                                        <p:attrNameLst>
                                          <p:attrName>style.visibility</p:attrName>
                                        </p:attrNameLst>
                                      </p:cBhvr>
                                      <p:to>
                                        <p:strVal val="visible"/>
                                      </p:to>
                                    </p:set>
                                    <p:animEffect transition="in" filter="fade">
                                      <p:cBhvr>
                                        <p:cTn id="296" dur="2000"/>
                                        <p:tgtEl>
                                          <p:spTgt spid="120"/>
                                        </p:tgtEl>
                                      </p:cBhvr>
                                    </p:animEffect>
                                  </p:childTnLst>
                                </p:cTn>
                              </p:par>
                              <p:par>
                                <p:cTn id="297" presetID="10" presetClass="entr" presetSubtype="0" fill="hold" grpId="0" nodeType="withEffect">
                                  <p:stCondLst>
                                    <p:cond delay="0"/>
                                  </p:stCondLst>
                                  <p:childTnLst>
                                    <p:set>
                                      <p:cBhvr>
                                        <p:cTn id="298" dur="1" fill="hold">
                                          <p:stCondLst>
                                            <p:cond delay="0"/>
                                          </p:stCondLst>
                                        </p:cTn>
                                        <p:tgtEl>
                                          <p:spTgt spid="94"/>
                                        </p:tgtEl>
                                        <p:attrNameLst>
                                          <p:attrName>style.visibility</p:attrName>
                                        </p:attrNameLst>
                                      </p:cBhvr>
                                      <p:to>
                                        <p:strVal val="visible"/>
                                      </p:to>
                                    </p:set>
                                    <p:animEffect transition="in" filter="fade">
                                      <p:cBhvr>
                                        <p:cTn id="299" dur="2000"/>
                                        <p:tgtEl>
                                          <p:spTgt spid="94"/>
                                        </p:tgtEl>
                                      </p:cBhvr>
                                    </p:animEffect>
                                  </p:childTnLst>
                                </p:cTn>
                              </p:par>
                              <p:par>
                                <p:cTn id="300" presetID="10" presetClass="entr" presetSubtype="0" fill="hold" nodeType="withEffect">
                                  <p:stCondLst>
                                    <p:cond delay="0"/>
                                  </p:stCondLst>
                                  <p:childTnLst>
                                    <p:set>
                                      <p:cBhvr>
                                        <p:cTn id="301" dur="1" fill="hold">
                                          <p:stCondLst>
                                            <p:cond delay="0"/>
                                          </p:stCondLst>
                                        </p:cTn>
                                        <p:tgtEl>
                                          <p:spTgt spid="90"/>
                                        </p:tgtEl>
                                        <p:attrNameLst>
                                          <p:attrName>style.visibility</p:attrName>
                                        </p:attrNameLst>
                                      </p:cBhvr>
                                      <p:to>
                                        <p:strVal val="visible"/>
                                      </p:to>
                                    </p:set>
                                    <p:animEffect transition="in" filter="fade">
                                      <p:cBhvr>
                                        <p:cTn id="302" dur="2000"/>
                                        <p:tgtEl>
                                          <p:spTgt spid="90"/>
                                        </p:tgtEl>
                                      </p:cBhvr>
                                    </p:animEffect>
                                  </p:childTnLst>
                                </p:cTn>
                              </p:par>
                              <p:par>
                                <p:cTn id="303" presetID="10" presetClass="entr" presetSubtype="0" fill="hold" grpId="0" nodeType="withEffect">
                                  <p:stCondLst>
                                    <p:cond delay="0"/>
                                  </p:stCondLst>
                                  <p:childTnLst>
                                    <p:set>
                                      <p:cBhvr>
                                        <p:cTn id="304" dur="1" fill="hold">
                                          <p:stCondLst>
                                            <p:cond delay="0"/>
                                          </p:stCondLst>
                                        </p:cTn>
                                        <p:tgtEl>
                                          <p:spTgt spid="95"/>
                                        </p:tgtEl>
                                        <p:attrNameLst>
                                          <p:attrName>style.visibility</p:attrName>
                                        </p:attrNameLst>
                                      </p:cBhvr>
                                      <p:to>
                                        <p:strVal val="visible"/>
                                      </p:to>
                                    </p:set>
                                    <p:animEffect transition="in" filter="fade">
                                      <p:cBhvr>
                                        <p:cTn id="305" dur="2000"/>
                                        <p:tgtEl>
                                          <p:spTgt spid="95"/>
                                        </p:tgtEl>
                                      </p:cBhvr>
                                    </p:animEffect>
                                  </p:childTnLst>
                                </p:cTn>
                              </p:par>
                              <p:par>
                                <p:cTn id="306" presetID="10" presetClass="entr" presetSubtype="0" fill="hold" nodeType="withEffect">
                                  <p:stCondLst>
                                    <p:cond delay="0"/>
                                  </p:stCondLst>
                                  <p:childTnLst>
                                    <p:set>
                                      <p:cBhvr>
                                        <p:cTn id="307" dur="1" fill="hold">
                                          <p:stCondLst>
                                            <p:cond delay="0"/>
                                          </p:stCondLst>
                                        </p:cTn>
                                        <p:tgtEl>
                                          <p:spTgt spid="91"/>
                                        </p:tgtEl>
                                        <p:attrNameLst>
                                          <p:attrName>style.visibility</p:attrName>
                                        </p:attrNameLst>
                                      </p:cBhvr>
                                      <p:to>
                                        <p:strVal val="visible"/>
                                      </p:to>
                                    </p:set>
                                    <p:animEffect transition="in" filter="fade">
                                      <p:cBhvr>
                                        <p:cTn id="308" dur="2000"/>
                                        <p:tgtEl>
                                          <p:spTgt spid="91"/>
                                        </p:tgtEl>
                                      </p:cBhvr>
                                    </p:animEffect>
                                  </p:childTnLst>
                                </p:cTn>
                              </p:par>
                            </p:childTnLst>
                          </p:cTn>
                        </p:par>
                      </p:childTnLst>
                    </p:cTn>
                  </p:par>
                  <p:par>
                    <p:cTn id="309" fill="hold">
                      <p:stCondLst>
                        <p:cond delay="indefinite"/>
                      </p:stCondLst>
                      <p:childTnLst>
                        <p:par>
                          <p:cTn id="310" fill="hold">
                            <p:stCondLst>
                              <p:cond delay="0"/>
                            </p:stCondLst>
                            <p:childTnLst>
                              <p:par>
                                <p:cTn id="311" presetID="10" presetClass="entr" presetSubtype="0" fill="hold" grpId="0" nodeType="clickEffect">
                                  <p:stCondLst>
                                    <p:cond delay="0"/>
                                  </p:stCondLst>
                                  <p:childTnLst>
                                    <p:set>
                                      <p:cBhvr>
                                        <p:cTn id="312" dur="1" fill="hold">
                                          <p:stCondLst>
                                            <p:cond delay="0"/>
                                          </p:stCondLst>
                                        </p:cTn>
                                        <p:tgtEl>
                                          <p:spTgt spid="72"/>
                                        </p:tgtEl>
                                        <p:attrNameLst>
                                          <p:attrName>style.visibility</p:attrName>
                                        </p:attrNameLst>
                                      </p:cBhvr>
                                      <p:to>
                                        <p:strVal val="visible"/>
                                      </p:to>
                                    </p:set>
                                    <p:animEffect transition="in" filter="fade">
                                      <p:cBhvr>
                                        <p:cTn id="313" dur="2000"/>
                                        <p:tgtEl>
                                          <p:spTgt spid="72"/>
                                        </p:tgtEl>
                                      </p:cBhvr>
                                    </p:animEffect>
                                  </p:childTnLst>
                                </p:cTn>
                              </p:par>
                              <p:par>
                                <p:cTn id="314" presetID="10" presetClass="entr" presetSubtype="0" fill="hold" grpId="0" nodeType="withEffect">
                                  <p:stCondLst>
                                    <p:cond delay="0"/>
                                  </p:stCondLst>
                                  <p:childTnLst>
                                    <p:set>
                                      <p:cBhvr>
                                        <p:cTn id="315" dur="1" fill="hold">
                                          <p:stCondLst>
                                            <p:cond delay="0"/>
                                          </p:stCondLst>
                                        </p:cTn>
                                        <p:tgtEl>
                                          <p:spTgt spid="73"/>
                                        </p:tgtEl>
                                        <p:attrNameLst>
                                          <p:attrName>style.visibility</p:attrName>
                                        </p:attrNameLst>
                                      </p:cBhvr>
                                      <p:to>
                                        <p:strVal val="visible"/>
                                      </p:to>
                                    </p:set>
                                    <p:animEffect transition="in" filter="fade">
                                      <p:cBhvr>
                                        <p:cTn id="316" dur="2000"/>
                                        <p:tgtEl>
                                          <p:spTgt spid="73"/>
                                        </p:tgtEl>
                                      </p:cBhvr>
                                    </p:animEffect>
                                  </p:childTnLst>
                                </p:cTn>
                              </p:par>
                              <p:par>
                                <p:cTn id="317" presetID="10" presetClass="entr" presetSubtype="0" fill="hold" nodeType="withEffect">
                                  <p:stCondLst>
                                    <p:cond delay="0"/>
                                  </p:stCondLst>
                                  <p:childTnLst>
                                    <p:set>
                                      <p:cBhvr>
                                        <p:cTn id="318" dur="1" fill="hold">
                                          <p:stCondLst>
                                            <p:cond delay="0"/>
                                          </p:stCondLst>
                                        </p:cTn>
                                        <p:tgtEl>
                                          <p:spTgt spid="74"/>
                                        </p:tgtEl>
                                        <p:attrNameLst>
                                          <p:attrName>style.visibility</p:attrName>
                                        </p:attrNameLst>
                                      </p:cBhvr>
                                      <p:to>
                                        <p:strVal val="visible"/>
                                      </p:to>
                                    </p:set>
                                    <p:animEffect transition="in" filter="fade">
                                      <p:cBhvr>
                                        <p:cTn id="319" dur="2000"/>
                                        <p:tgtEl>
                                          <p:spTgt spid="74"/>
                                        </p:tgtEl>
                                      </p:cBhvr>
                                    </p:animEffect>
                                  </p:childTnLst>
                                </p:cTn>
                              </p:par>
                              <p:par>
                                <p:cTn id="320" presetID="10" presetClass="entr" presetSubtype="0" fill="hold" nodeType="withEffect">
                                  <p:stCondLst>
                                    <p:cond delay="0"/>
                                  </p:stCondLst>
                                  <p:childTnLst>
                                    <p:set>
                                      <p:cBhvr>
                                        <p:cTn id="321" dur="1" fill="hold">
                                          <p:stCondLst>
                                            <p:cond delay="0"/>
                                          </p:stCondLst>
                                        </p:cTn>
                                        <p:tgtEl>
                                          <p:spTgt spid="75"/>
                                        </p:tgtEl>
                                        <p:attrNameLst>
                                          <p:attrName>style.visibility</p:attrName>
                                        </p:attrNameLst>
                                      </p:cBhvr>
                                      <p:to>
                                        <p:strVal val="visible"/>
                                      </p:to>
                                    </p:set>
                                    <p:animEffect transition="in" filter="fade">
                                      <p:cBhvr>
                                        <p:cTn id="322" dur="2000"/>
                                        <p:tgtEl>
                                          <p:spTgt spid="75"/>
                                        </p:tgtEl>
                                      </p:cBhvr>
                                    </p:animEffect>
                                  </p:childTnLst>
                                </p:cTn>
                              </p:par>
                              <p:par>
                                <p:cTn id="323" presetID="10" presetClass="entr" presetSubtype="0" fill="hold" grpId="0" nodeType="withEffect">
                                  <p:stCondLst>
                                    <p:cond delay="0"/>
                                  </p:stCondLst>
                                  <p:childTnLst>
                                    <p:set>
                                      <p:cBhvr>
                                        <p:cTn id="324" dur="1" fill="hold">
                                          <p:stCondLst>
                                            <p:cond delay="0"/>
                                          </p:stCondLst>
                                        </p:cTn>
                                        <p:tgtEl>
                                          <p:spTgt spid="76"/>
                                        </p:tgtEl>
                                        <p:attrNameLst>
                                          <p:attrName>style.visibility</p:attrName>
                                        </p:attrNameLst>
                                      </p:cBhvr>
                                      <p:to>
                                        <p:strVal val="visible"/>
                                      </p:to>
                                    </p:set>
                                    <p:animEffect transition="in" filter="fade">
                                      <p:cBhvr>
                                        <p:cTn id="325" dur="2000"/>
                                        <p:tgtEl>
                                          <p:spTgt spid="76"/>
                                        </p:tgtEl>
                                      </p:cBhvr>
                                    </p:animEffect>
                                  </p:childTnLst>
                                </p:cTn>
                              </p:par>
                              <p:par>
                                <p:cTn id="326" presetID="10" presetClass="entr" presetSubtype="0" fill="hold" grpId="0" nodeType="withEffect">
                                  <p:stCondLst>
                                    <p:cond delay="0"/>
                                  </p:stCondLst>
                                  <p:childTnLst>
                                    <p:set>
                                      <p:cBhvr>
                                        <p:cTn id="327" dur="1" fill="hold">
                                          <p:stCondLst>
                                            <p:cond delay="0"/>
                                          </p:stCondLst>
                                        </p:cTn>
                                        <p:tgtEl>
                                          <p:spTgt spid="77"/>
                                        </p:tgtEl>
                                        <p:attrNameLst>
                                          <p:attrName>style.visibility</p:attrName>
                                        </p:attrNameLst>
                                      </p:cBhvr>
                                      <p:to>
                                        <p:strVal val="visible"/>
                                      </p:to>
                                    </p:set>
                                    <p:animEffect transition="in" filter="fade">
                                      <p:cBhvr>
                                        <p:cTn id="328" dur="2000"/>
                                        <p:tgtEl>
                                          <p:spTgt spid="77"/>
                                        </p:tgtEl>
                                      </p:cBhvr>
                                    </p:animEffect>
                                  </p:childTnLst>
                                </p:cTn>
                              </p:par>
                              <p:par>
                                <p:cTn id="329" presetID="10" presetClass="entr" presetSubtype="0" fill="hold" nodeType="withEffect">
                                  <p:stCondLst>
                                    <p:cond delay="0"/>
                                  </p:stCondLst>
                                  <p:childTnLst>
                                    <p:set>
                                      <p:cBhvr>
                                        <p:cTn id="330" dur="1" fill="hold">
                                          <p:stCondLst>
                                            <p:cond delay="0"/>
                                          </p:stCondLst>
                                        </p:cTn>
                                        <p:tgtEl>
                                          <p:spTgt spid="78"/>
                                        </p:tgtEl>
                                        <p:attrNameLst>
                                          <p:attrName>style.visibility</p:attrName>
                                        </p:attrNameLst>
                                      </p:cBhvr>
                                      <p:to>
                                        <p:strVal val="visible"/>
                                      </p:to>
                                    </p:set>
                                    <p:animEffect transition="in" filter="fade">
                                      <p:cBhvr>
                                        <p:cTn id="331" dur="2000"/>
                                        <p:tgtEl>
                                          <p:spTgt spid="78"/>
                                        </p:tgtEl>
                                      </p:cBhvr>
                                    </p:animEffect>
                                  </p:childTnLst>
                                </p:cTn>
                              </p:par>
                              <p:par>
                                <p:cTn id="332" presetID="10" presetClass="entr" presetSubtype="0" fill="hold" nodeType="withEffect">
                                  <p:stCondLst>
                                    <p:cond delay="0"/>
                                  </p:stCondLst>
                                  <p:childTnLst>
                                    <p:set>
                                      <p:cBhvr>
                                        <p:cTn id="333" dur="1" fill="hold">
                                          <p:stCondLst>
                                            <p:cond delay="0"/>
                                          </p:stCondLst>
                                        </p:cTn>
                                        <p:tgtEl>
                                          <p:spTgt spid="79"/>
                                        </p:tgtEl>
                                        <p:attrNameLst>
                                          <p:attrName>style.visibility</p:attrName>
                                        </p:attrNameLst>
                                      </p:cBhvr>
                                      <p:to>
                                        <p:strVal val="visible"/>
                                      </p:to>
                                    </p:set>
                                    <p:animEffect transition="in" filter="fade">
                                      <p:cBhvr>
                                        <p:cTn id="334" dur="2000"/>
                                        <p:tgtEl>
                                          <p:spTgt spid="79"/>
                                        </p:tgtEl>
                                      </p:cBhvr>
                                    </p:animEffect>
                                  </p:childTnLst>
                                </p:cTn>
                              </p:par>
                              <p:par>
                                <p:cTn id="335" presetID="10" presetClass="entr" presetSubtype="0" fill="hold" grpId="0" nodeType="withEffect">
                                  <p:stCondLst>
                                    <p:cond delay="0"/>
                                  </p:stCondLst>
                                  <p:childTnLst>
                                    <p:set>
                                      <p:cBhvr>
                                        <p:cTn id="336" dur="1" fill="hold">
                                          <p:stCondLst>
                                            <p:cond delay="0"/>
                                          </p:stCondLst>
                                        </p:cTn>
                                        <p:tgtEl>
                                          <p:spTgt spid="80"/>
                                        </p:tgtEl>
                                        <p:attrNameLst>
                                          <p:attrName>style.visibility</p:attrName>
                                        </p:attrNameLst>
                                      </p:cBhvr>
                                      <p:to>
                                        <p:strVal val="visible"/>
                                      </p:to>
                                    </p:set>
                                    <p:animEffect transition="in" filter="fade">
                                      <p:cBhvr>
                                        <p:cTn id="337" dur="2000"/>
                                        <p:tgtEl>
                                          <p:spTgt spid="80"/>
                                        </p:tgtEl>
                                      </p:cBhvr>
                                    </p:animEffect>
                                  </p:childTnLst>
                                </p:cTn>
                              </p:par>
                              <p:par>
                                <p:cTn id="338" presetID="10" presetClass="entr" presetSubtype="0" fill="hold" nodeType="withEffect">
                                  <p:stCondLst>
                                    <p:cond delay="0"/>
                                  </p:stCondLst>
                                  <p:childTnLst>
                                    <p:set>
                                      <p:cBhvr>
                                        <p:cTn id="339" dur="1" fill="hold">
                                          <p:stCondLst>
                                            <p:cond delay="0"/>
                                          </p:stCondLst>
                                        </p:cTn>
                                        <p:tgtEl>
                                          <p:spTgt spid="82"/>
                                        </p:tgtEl>
                                        <p:attrNameLst>
                                          <p:attrName>style.visibility</p:attrName>
                                        </p:attrNameLst>
                                      </p:cBhvr>
                                      <p:to>
                                        <p:strVal val="visible"/>
                                      </p:to>
                                    </p:set>
                                    <p:animEffect transition="in" filter="fade">
                                      <p:cBhvr>
                                        <p:cTn id="340" dur="2000"/>
                                        <p:tgtEl>
                                          <p:spTgt spid="82"/>
                                        </p:tgtEl>
                                      </p:cBhvr>
                                    </p:animEffect>
                                  </p:childTnLst>
                                </p:cTn>
                              </p:par>
                              <p:par>
                                <p:cTn id="341" presetID="10" presetClass="entr" presetSubtype="0" fill="hold" grpId="0" nodeType="withEffect">
                                  <p:stCondLst>
                                    <p:cond delay="0"/>
                                  </p:stCondLst>
                                  <p:childTnLst>
                                    <p:set>
                                      <p:cBhvr>
                                        <p:cTn id="342" dur="1" fill="hold">
                                          <p:stCondLst>
                                            <p:cond delay="0"/>
                                          </p:stCondLst>
                                        </p:cTn>
                                        <p:tgtEl>
                                          <p:spTgt spid="83"/>
                                        </p:tgtEl>
                                        <p:attrNameLst>
                                          <p:attrName>style.visibility</p:attrName>
                                        </p:attrNameLst>
                                      </p:cBhvr>
                                      <p:to>
                                        <p:strVal val="visible"/>
                                      </p:to>
                                    </p:set>
                                    <p:animEffect transition="in" filter="fade">
                                      <p:cBhvr>
                                        <p:cTn id="343" dur="2000"/>
                                        <p:tgtEl>
                                          <p:spTgt spid="83"/>
                                        </p:tgtEl>
                                      </p:cBhvr>
                                    </p:animEffect>
                                  </p:childTnLst>
                                </p:cTn>
                              </p:par>
                              <p:par>
                                <p:cTn id="344" presetID="10" presetClass="entr" presetSubtype="0" fill="hold" grpId="0" nodeType="withEffect">
                                  <p:stCondLst>
                                    <p:cond delay="0"/>
                                  </p:stCondLst>
                                  <p:childTnLst>
                                    <p:set>
                                      <p:cBhvr>
                                        <p:cTn id="345" dur="1" fill="hold">
                                          <p:stCondLst>
                                            <p:cond delay="0"/>
                                          </p:stCondLst>
                                        </p:cTn>
                                        <p:tgtEl>
                                          <p:spTgt spid="84"/>
                                        </p:tgtEl>
                                        <p:attrNameLst>
                                          <p:attrName>style.visibility</p:attrName>
                                        </p:attrNameLst>
                                      </p:cBhvr>
                                      <p:to>
                                        <p:strVal val="visible"/>
                                      </p:to>
                                    </p:set>
                                    <p:animEffect transition="in" filter="fade">
                                      <p:cBhvr>
                                        <p:cTn id="346" dur="2000"/>
                                        <p:tgtEl>
                                          <p:spTgt spid="84"/>
                                        </p:tgtEl>
                                      </p:cBhvr>
                                    </p:animEffect>
                                  </p:childTnLst>
                                </p:cTn>
                              </p:par>
                              <p:par>
                                <p:cTn id="347" presetID="10" presetClass="entr" presetSubtype="0" fill="hold" grpId="0" nodeType="withEffect">
                                  <p:stCondLst>
                                    <p:cond delay="0"/>
                                  </p:stCondLst>
                                  <p:childTnLst>
                                    <p:set>
                                      <p:cBhvr>
                                        <p:cTn id="348" dur="1" fill="hold">
                                          <p:stCondLst>
                                            <p:cond delay="0"/>
                                          </p:stCondLst>
                                        </p:cTn>
                                        <p:tgtEl>
                                          <p:spTgt spid="85"/>
                                        </p:tgtEl>
                                        <p:attrNameLst>
                                          <p:attrName>style.visibility</p:attrName>
                                        </p:attrNameLst>
                                      </p:cBhvr>
                                      <p:to>
                                        <p:strVal val="visible"/>
                                      </p:to>
                                    </p:set>
                                    <p:animEffect transition="in" filter="fade">
                                      <p:cBhvr>
                                        <p:cTn id="349" dur="2000"/>
                                        <p:tgtEl>
                                          <p:spTgt spid="85"/>
                                        </p:tgtEl>
                                      </p:cBhvr>
                                    </p:animEffect>
                                  </p:childTnLst>
                                </p:cTn>
                              </p:par>
                              <p:par>
                                <p:cTn id="350" presetID="10" presetClass="entr" presetSubtype="0" fill="hold" grpId="0" nodeType="withEffect">
                                  <p:stCondLst>
                                    <p:cond delay="0"/>
                                  </p:stCondLst>
                                  <p:childTnLst>
                                    <p:set>
                                      <p:cBhvr>
                                        <p:cTn id="351" dur="1" fill="hold">
                                          <p:stCondLst>
                                            <p:cond delay="0"/>
                                          </p:stCondLst>
                                        </p:cTn>
                                        <p:tgtEl>
                                          <p:spTgt spid="108"/>
                                        </p:tgtEl>
                                        <p:attrNameLst>
                                          <p:attrName>style.visibility</p:attrName>
                                        </p:attrNameLst>
                                      </p:cBhvr>
                                      <p:to>
                                        <p:strVal val="visible"/>
                                      </p:to>
                                    </p:set>
                                    <p:animEffect transition="in" filter="fade">
                                      <p:cBhvr>
                                        <p:cTn id="352" dur="2000"/>
                                        <p:tgtEl>
                                          <p:spTgt spid="108"/>
                                        </p:tgtEl>
                                      </p:cBhvr>
                                    </p:animEffect>
                                  </p:childTnLst>
                                </p:cTn>
                              </p:par>
                              <p:par>
                                <p:cTn id="353" presetID="10" presetClass="entr" presetSubtype="0" fill="hold" grpId="0" nodeType="withEffect">
                                  <p:stCondLst>
                                    <p:cond delay="0"/>
                                  </p:stCondLst>
                                  <p:childTnLst>
                                    <p:set>
                                      <p:cBhvr>
                                        <p:cTn id="354" dur="1" fill="hold">
                                          <p:stCondLst>
                                            <p:cond delay="0"/>
                                          </p:stCondLst>
                                        </p:cTn>
                                        <p:tgtEl>
                                          <p:spTgt spid="109"/>
                                        </p:tgtEl>
                                        <p:attrNameLst>
                                          <p:attrName>style.visibility</p:attrName>
                                        </p:attrNameLst>
                                      </p:cBhvr>
                                      <p:to>
                                        <p:strVal val="visible"/>
                                      </p:to>
                                    </p:set>
                                    <p:animEffect transition="in" filter="fade">
                                      <p:cBhvr>
                                        <p:cTn id="355" dur="2000"/>
                                        <p:tgtEl>
                                          <p:spTgt spid="109"/>
                                        </p:tgtEl>
                                      </p:cBhvr>
                                    </p:animEffect>
                                  </p:childTnLst>
                                </p:cTn>
                              </p:par>
                              <p:par>
                                <p:cTn id="356" presetID="10" presetClass="entr" presetSubtype="0" fill="hold" nodeType="withEffect">
                                  <p:stCondLst>
                                    <p:cond delay="0"/>
                                  </p:stCondLst>
                                  <p:childTnLst>
                                    <p:set>
                                      <p:cBhvr>
                                        <p:cTn id="357" dur="1" fill="hold">
                                          <p:stCondLst>
                                            <p:cond delay="0"/>
                                          </p:stCondLst>
                                        </p:cTn>
                                        <p:tgtEl>
                                          <p:spTgt spid="110"/>
                                        </p:tgtEl>
                                        <p:attrNameLst>
                                          <p:attrName>style.visibility</p:attrName>
                                        </p:attrNameLst>
                                      </p:cBhvr>
                                      <p:to>
                                        <p:strVal val="visible"/>
                                      </p:to>
                                    </p:set>
                                    <p:animEffect transition="in" filter="fade">
                                      <p:cBhvr>
                                        <p:cTn id="358" dur="2000"/>
                                        <p:tgtEl>
                                          <p:spTgt spid="110"/>
                                        </p:tgtEl>
                                      </p:cBhvr>
                                    </p:animEffect>
                                  </p:childTnLst>
                                </p:cTn>
                              </p:par>
                              <p:par>
                                <p:cTn id="359" presetID="10" presetClass="entr" presetSubtype="0" fill="hold" nodeType="withEffect">
                                  <p:stCondLst>
                                    <p:cond delay="0"/>
                                  </p:stCondLst>
                                  <p:childTnLst>
                                    <p:set>
                                      <p:cBhvr>
                                        <p:cTn id="360" dur="1" fill="hold">
                                          <p:stCondLst>
                                            <p:cond delay="0"/>
                                          </p:stCondLst>
                                        </p:cTn>
                                        <p:tgtEl>
                                          <p:spTgt spid="111"/>
                                        </p:tgtEl>
                                        <p:attrNameLst>
                                          <p:attrName>style.visibility</p:attrName>
                                        </p:attrNameLst>
                                      </p:cBhvr>
                                      <p:to>
                                        <p:strVal val="visible"/>
                                      </p:to>
                                    </p:set>
                                    <p:animEffect transition="in" filter="fade">
                                      <p:cBhvr>
                                        <p:cTn id="361" dur="2000"/>
                                        <p:tgtEl>
                                          <p:spTgt spid="111"/>
                                        </p:tgtEl>
                                      </p:cBhvr>
                                    </p:animEffect>
                                  </p:childTnLst>
                                </p:cTn>
                              </p:par>
                              <p:par>
                                <p:cTn id="362" presetID="10" presetClass="entr" presetSubtype="0" fill="hold" nodeType="withEffect">
                                  <p:stCondLst>
                                    <p:cond delay="0"/>
                                  </p:stCondLst>
                                  <p:childTnLst>
                                    <p:set>
                                      <p:cBhvr>
                                        <p:cTn id="363" dur="1" fill="hold">
                                          <p:stCondLst>
                                            <p:cond delay="0"/>
                                          </p:stCondLst>
                                        </p:cTn>
                                        <p:tgtEl>
                                          <p:spTgt spid="112"/>
                                        </p:tgtEl>
                                        <p:attrNameLst>
                                          <p:attrName>style.visibility</p:attrName>
                                        </p:attrNameLst>
                                      </p:cBhvr>
                                      <p:to>
                                        <p:strVal val="visible"/>
                                      </p:to>
                                    </p:set>
                                    <p:animEffect transition="in" filter="fade">
                                      <p:cBhvr>
                                        <p:cTn id="364" dur="2000"/>
                                        <p:tgtEl>
                                          <p:spTgt spid="112"/>
                                        </p:tgtEl>
                                      </p:cBhvr>
                                    </p:animEffect>
                                  </p:childTnLst>
                                </p:cTn>
                              </p:par>
                              <p:par>
                                <p:cTn id="365" presetID="10" presetClass="entr" presetSubtype="0" fill="hold" nodeType="withEffect">
                                  <p:stCondLst>
                                    <p:cond delay="0"/>
                                  </p:stCondLst>
                                  <p:childTnLst>
                                    <p:set>
                                      <p:cBhvr>
                                        <p:cTn id="366" dur="1" fill="hold">
                                          <p:stCondLst>
                                            <p:cond delay="0"/>
                                          </p:stCondLst>
                                        </p:cTn>
                                        <p:tgtEl>
                                          <p:spTgt spid="113"/>
                                        </p:tgtEl>
                                        <p:attrNameLst>
                                          <p:attrName>style.visibility</p:attrName>
                                        </p:attrNameLst>
                                      </p:cBhvr>
                                      <p:to>
                                        <p:strVal val="visible"/>
                                      </p:to>
                                    </p:set>
                                    <p:animEffect transition="in" filter="fade">
                                      <p:cBhvr>
                                        <p:cTn id="367" dur="2000"/>
                                        <p:tgtEl>
                                          <p:spTgt spid="113"/>
                                        </p:tgtEl>
                                      </p:cBhvr>
                                    </p:animEffect>
                                  </p:childTnLst>
                                </p:cTn>
                              </p:par>
                              <p:par>
                                <p:cTn id="368" presetID="10" presetClass="entr" presetSubtype="0" fill="hold" grpId="0" nodeType="withEffect">
                                  <p:stCondLst>
                                    <p:cond delay="0"/>
                                  </p:stCondLst>
                                  <p:childTnLst>
                                    <p:set>
                                      <p:cBhvr>
                                        <p:cTn id="369" dur="1" fill="hold">
                                          <p:stCondLst>
                                            <p:cond delay="0"/>
                                          </p:stCondLst>
                                        </p:cTn>
                                        <p:tgtEl>
                                          <p:spTgt spid="114"/>
                                        </p:tgtEl>
                                        <p:attrNameLst>
                                          <p:attrName>style.visibility</p:attrName>
                                        </p:attrNameLst>
                                      </p:cBhvr>
                                      <p:to>
                                        <p:strVal val="visible"/>
                                      </p:to>
                                    </p:set>
                                    <p:animEffect transition="in" filter="fade">
                                      <p:cBhvr>
                                        <p:cTn id="370" dur="2000"/>
                                        <p:tgtEl>
                                          <p:spTgt spid="114"/>
                                        </p:tgtEl>
                                      </p:cBhvr>
                                    </p:animEffect>
                                  </p:childTnLst>
                                </p:cTn>
                              </p:par>
                              <p:par>
                                <p:cTn id="371" presetID="10" presetClass="entr" presetSubtype="0" fill="hold" grpId="0" nodeType="withEffect">
                                  <p:stCondLst>
                                    <p:cond delay="0"/>
                                  </p:stCondLst>
                                  <p:childTnLst>
                                    <p:set>
                                      <p:cBhvr>
                                        <p:cTn id="372" dur="1" fill="hold">
                                          <p:stCondLst>
                                            <p:cond delay="0"/>
                                          </p:stCondLst>
                                        </p:cTn>
                                        <p:tgtEl>
                                          <p:spTgt spid="115"/>
                                        </p:tgtEl>
                                        <p:attrNameLst>
                                          <p:attrName>style.visibility</p:attrName>
                                        </p:attrNameLst>
                                      </p:cBhvr>
                                      <p:to>
                                        <p:strVal val="visible"/>
                                      </p:to>
                                    </p:set>
                                    <p:animEffect transition="in" filter="fade">
                                      <p:cBhvr>
                                        <p:cTn id="373" dur="2000"/>
                                        <p:tgtEl>
                                          <p:spTgt spid="115"/>
                                        </p:tgtEl>
                                      </p:cBhvr>
                                    </p:animEffect>
                                  </p:childTnLst>
                                </p:cTn>
                              </p:par>
                              <p:par>
                                <p:cTn id="374" presetID="10" presetClass="entr" presetSubtype="0" fill="hold" nodeType="withEffect">
                                  <p:stCondLst>
                                    <p:cond delay="0"/>
                                  </p:stCondLst>
                                  <p:childTnLst>
                                    <p:set>
                                      <p:cBhvr>
                                        <p:cTn id="375" dur="1" fill="hold">
                                          <p:stCondLst>
                                            <p:cond delay="0"/>
                                          </p:stCondLst>
                                        </p:cTn>
                                        <p:tgtEl>
                                          <p:spTgt spid="116"/>
                                        </p:tgtEl>
                                        <p:attrNameLst>
                                          <p:attrName>style.visibility</p:attrName>
                                        </p:attrNameLst>
                                      </p:cBhvr>
                                      <p:to>
                                        <p:strVal val="visible"/>
                                      </p:to>
                                    </p:set>
                                    <p:animEffect transition="in" filter="fade">
                                      <p:cBhvr>
                                        <p:cTn id="376" dur="2000"/>
                                        <p:tgtEl>
                                          <p:spTgt spid="116"/>
                                        </p:tgtEl>
                                      </p:cBhvr>
                                    </p:animEffect>
                                  </p:childTnLst>
                                </p:cTn>
                              </p:par>
                              <p:par>
                                <p:cTn id="377" presetID="10" presetClass="entr" presetSubtype="0" fill="hold" nodeType="withEffect">
                                  <p:stCondLst>
                                    <p:cond delay="0"/>
                                  </p:stCondLst>
                                  <p:childTnLst>
                                    <p:set>
                                      <p:cBhvr>
                                        <p:cTn id="378" dur="1" fill="hold">
                                          <p:stCondLst>
                                            <p:cond delay="0"/>
                                          </p:stCondLst>
                                        </p:cTn>
                                        <p:tgtEl>
                                          <p:spTgt spid="118"/>
                                        </p:tgtEl>
                                        <p:attrNameLst>
                                          <p:attrName>style.visibility</p:attrName>
                                        </p:attrNameLst>
                                      </p:cBhvr>
                                      <p:to>
                                        <p:strVal val="visible"/>
                                      </p:to>
                                    </p:set>
                                    <p:animEffect transition="in" filter="fade">
                                      <p:cBhvr>
                                        <p:cTn id="379" dur="2000"/>
                                        <p:tgtEl>
                                          <p:spTgt spid="118"/>
                                        </p:tgtEl>
                                      </p:cBhvr>
                                    </p:animEffect>
                                  </p:childTnLst>
                                </p:cTn>
                              </p:par>
                              <p:par>
                                <p:cTn id="380" presetID="10" presetClass="entr" presetSubtype="0" fill="hold" nodeType="withEffect">
                                  <p:stCondLst>
                                    <p:cond delay="0"/>
                                  </p:stCondLst>
                                  <p:childTnLst>
                                    <p:set>
                                      <p:cBhvr>
                                        <p:cTn id="381" dur="1" fill="hold">
                                          <p:stCondLst>
                                            <p:cond delay="0"/>
                                          </p:stCondLst>
                                        </p:cTn>
                                        <p:tgtEl>
                                          <p:spTgt spid="87"/>
                                        </p:tgtEl>
                                        <p:attrNameLst>
                                          <p:attrName>style.visibility</p:attrName>
                                        </p:attrNameLst>
                                      </p:cBhvr>
                                      <p:to>
                                        <p:strVal val="visible"/>
                                      </p:to>
                                    </p:set>
                                    <p:animEffect transition="in" filter="fade">
                                      <p:cBhvr>
                                        <p:cTn id="382" dur="2000"/>
                                        <p:tgtEl>
                                          <p:spTgt spid="87"/>
                                        </p:tgtEl>
                                      </p:cBhvr>
                                    </p:animEffect>
                                  </p:childTnLst>
                                </p:cTn>
                              </p:par>
                              <p:par>
                                <p:cTn id="383" presetID="10" presetClass="entr" presetSubtype="0" fill="hold" nodeType="withEffect">
                                  <p:stCondLst>
                                    <p:cond delay="0"/>
                                  </p:stCondLst>
                                  <p:childTnLst>
                                    <p:set>
                                      <p:cBhvr>
                                        <p:cTn id="384" dur="1" fill="hold">
                                          <p:stCondLst>
                                            <p:cond delay="0"/>
                                          </p:stCondLst>
                                        </p:cTn>
                                        <p:tgtEl>
                                          <p:spTgt spid="86"/>
                                        </p:tgtEl>
                                        <p:attrNameLst>
                                          <p:attrName>style.visibility</p:attrName>
                                        </p:attrNameLst>
                                      </p:cBhvr>
                                      <p:to>
                                        <p:strVal val="visible"/>
                                      </p:to>
                                    </p:set>
                                    <p:animEffect transition="in" filter="fade">
                                      <p:cBhvr>
                                        <p:cTn id="385" dur="2000"/>
                                        <p:tgtEl>
                                          <p:spTgt spid="86"/>
                                        </p:tgtEl>
                                      </p:cBhvr>
                                    </p:animEffect>
                                  </p:childTnLst>
                                </p:cTn>
                              </p:par>
                              <p:par>
                                <p:cTn id="386" presetID="10" presetClass="entr" presetSubtype="0" fill="hold" nodeType="withEffect">
                                  <p:stCondLst>
                                    <p:cond delay="0"/>
                                  </p:stCondLst>
                                  <p:childTnLst>
                                    <p:set>
                                      <p:cBhvr>
                                        <p:cTn id="387" dur="1" fill="hold">
                                          <p:stCondLst>
                                            <p:cond delay="0"/>
                                          </p:stCondLst>
                                        </p:cTn>
                                        <p:tgtEl>
                                          <p:spTgt spid="81"/>
                                        </p:tgtEl>
                                        <p:attrNameLst>
                                          <p:attrName>style.visibility</p:attrName>
                                        </p:attrNameLst>
                                      </p:cBhvr>
                                      <p:to>
                                        <p:strVal val="visible"/>
                                      </p:to>
                                    </p:set>
                                    <p:animEffect transition="in" filter="fade">
                                      <p:cBhvr>
                                        <p:cTn id="388" dur="2000"/>
                                        <p:tgtEl>
                                          <p:spTgt spid="81"/>
                                        </p:tgtEl>
                                      </p:cBhvr>
                                    </p:animEffect>
                                  </p:childTnLst>
                                </p:cTn>
                              </p:par>
                              <p:par>
                                <p:cTn id="389" presetID="10" presetClass="entr" presetSubtype="0" fill="hold" nodeType="withEffect">
                                  <p:stCondLst>
                                    <p:cond delay="0"/>
                                  </p:stCondLst>
                                  <p:childTnLst>
                                    <p:set>
                                      <p:cBhvr>
                                        <p:cTn id="390" dur="1" fill="hold">
                                          <p:stCondLst>
                                            <p:cond delay="0"/>
                                          </p:stCondLst>
                                        </p:cTn>
                                        <p:tgtEl>
                                          <p:spTgt spid="117"/>
                                        </p:tgtEl>
                                        <p:attrNameLst>
                                          <p:attrName>style.visibility</p:attrName>
                                        </p:attrNameLst>
                                      </p:cBhvr>
                                      <p:to>
                                        <p:strVal val="visible"/>
                                      </p:to>
                                    </p:set>
                                    <p:animEffect transition="in" filter="fade">
                                      <p:cBhvr>
                                        <p:cTn id="391" dur="2000"/>
                                        <p:tgtEl>
                                          <p:spTgt spid="117"/>
                                        </p:tgtEl>
                                      </p:cBhvr>
                                    </p:animEffect>
                                  </p:childTnLst>
                                </p:cTn>
                              </p:par>
                            </p:childTnLst>
                          </p:cTn>
                        </p:par>
                      </p:childTnLst>
                    </p:cTn>
                  </p:par>
                  <p:par>
                    <p:cTn id="392" fill="hold">
                      <p:stCondLst>
                        <p:cond delay="indefinite"/>
                      </p:stCondLst>
                      <p:childTnLst>
                        <p:par>
                          <p:cTn id="393" fill="hold">
                            <p:stCondLst>
                              <p:cond delay="0"/>
                            </p:stCondLst>
                            <p:childTnLst>
                              <p:par>
                                <p:cTn id="394" presetID="10" presetClass="entr" presetSubtype="0" fill="hold" nodeType="clickEffect">
                                  <p:stCondLst>
                                    <p:cond delay="0"/>
                                  </p:stCondLst>
                                  <p:childTnLst>
                                    <p:set>
                                      <p:cBhvr>
                                        <p:cTn id="395" dur="1" fill="hold">
                                          <p:stCondLst>
                                            <p:cond delay="0"/>
                                          </p:stCondLst>
                                        </p:cTn>
                                        <p:tgtEl>
                                          <p:spTgt spid="64"/>
                                        </p:tgtEl>
                                        <p:attrNameLst>
                                          <p:attrName>style.visibility</p:attrName>
                                        </p:attrNameLst>
                                      </p:cBhvr>
                                      <p:to>
                                        <p:strVal val="visible"/>
                                      </p:to>
                                    </p:set>
                                    <p:animEffect transition="in" filter="fade">
                                      <p:cBhvr>
                                        <p:cTn id="396" dur="2000"/>
                                        <p:tgtEl>
                                          <p:spTgt spid="64"/>
                                        </p:tgtEl>
                                      </p:cBhvr>
                                    </p:animEffect>
                                  </p:childTnLst>
                                </p:cTn>
                              </p:par>
                              <p:par>
                                <p:cTn id="397" presetID="10" presetClass="entr" presetSubtype="0" fill="hold" grpId="0" nodeType="withEffect">
                                  <p:stCondLst>
                                    <p:cond delay="0"/>
                                  </p:stCondLst>
                                  <p:childTnLst>
                                    <p:set>
                                      <p:cBhvr>
                                        <p:cTn id="398" dur="1" fill="hold">
                                          <p:stCondLst>
                                            <p:cond delay="0"/>
                                          </p:stCondLst>
                                        </p:cTn>
                                        <p:tgtEl>
                                          <p:spTgt spid="65"/>
                                        </p:tgtEl>
                                        <p:attrNameLst>
                                          <p:attrName>style.visibility</p:attrName>
                                        </p:attrNameLst>
                                      </p:cBhvr>
                                      <p:to>
                                        <p:strVal val="visible"/>
                                      </p:to>
                                    </p:set>
                                    <p:animEffect transition="in" filter="fade">
                                      <p:cBhvr>
                                        <p:cTn id="399" dur="2000"/>
                                        <p:tgtEl>
                                          <p:spTgt spid="65"/>
                                        </p:tgtEl>
                                      </p:cBhvr>
                                    </p:animEffect>
                                  </p:childTnLst>
                                </p:cTn>
                              </p:par>
                              <p:par>
                                <p:cTn id="400" presetID="10" presetClass="entr" presetSubtype="0" fill="hold" nodeType="withEffect">
                                  <p:stCondLst>
                                    <p:cond delay="0"/>
                                  </p:stCondLst>
                                  <p:childTnLst>
                                    <p:set>
                                      <p:cBhvr>
                                        <p:cTn id="401" dur="1" fill="hold">
                                          <p:stCondLst>
                                            <p:cond delay="0"/>
                                          </p:stCondLst>
                                        </p:cTn>
                                        <p:tgtEl>
                                          <p:spTgt spid="66"/>
                                        </p:tgtEl>
                                        <p:attrNameLst>
                                          <p:attrName>style.visibility</p:attrName>
                                        </p:attrNameLst>
                                      </p:cBhvr>
                                      <p:to>
                                        <p:strVal val="visible"/>
                                      </p:to>
                                    </p:set>
                                    <p:animEffect transition="in" filter="fade">
                                      <p:cBhvr>
                                        <p:cTn id="402" dur="2000"/>
                                        <p:tgtEl>
                                          <p:spTgt spid="66"/>
                                        </p:tgtEl>
                                      </p:cBhvr>
                                    </p:animEffect>
                                  </p:childTnLst>
                                </p:cTn>
                              </p:par>
                              <p:par>
                                <p:cTn id="403" presetID="10" presetClass="entr" presetSubtype="0" fill="hold" nodeType="withEffect">
                                  <p:stCondLst>
                                    <p:cond delay="0"/>
                                  </p:stCondLst>
                                  <p:childTnLst>
                                    <p:set>
                                      <p:cBhvr>
                                        <p:cTn id="404" dur="1" fill="hold">
                                          <p:stCondLst>
                                            <p:cond delay="0"/>
                                          </p:stCondLst>
                                        </p:cTn>
                                        <p:tgtEl>
                                          <p:spTgt spid="67"/>
                                        </p:tgtEl>
                                        <p:attrNameLst>
                                          <p:attrName>style.visibility</p:attrName>
                                        </p:attrNameLst>
                                      </p:cBhvr>
                                      <p:to>
                                        <p:strVal val="visible"/>
                                      </p:to>
                                    </p:set>
                                    <p:animEffect transition="in" filter="fade">
                                      <p:cBhvr>
                                        <p:cTn id="405" dur="2000"/>
                                        <p:tgtEl>
                                          <p:spTgt spid="67"/>
                                        </p:tgtEl>
                                      </p:cBhvr>
                                    </p:animEffect>
                                  </p:childTnLst>
                                </p:cTn>
                              </p:par>
                              <p:par>
                                <p:cTn id="406" presetID="10" presetClass="entr" presetSubtype="0" fill="hold" nodeType="withEffect">
                                  <p:stCondLst>
                                    <p:cond delay="0"/>
                                  </p:stCondLst>
                                  <p:childTnLst>
                                    <p:set>
                                      <p:cBhvr>
                                        <p:cTn id="407" dur="1" fill="hold">
                                          <p:stCondLst>
                                            <p:cond delay="0"/>
                                          </p:stCondLst>
                                        </p:cTn>
                                        <p:tgtEl>
                                          <p:spTgt spid="68"/>
                                        </p:tgtEl>
                                        <p:attrNameLst>
                                          <p:attrName>style.visibility</p:attrName>
                                        </p:attrNameLst>
                                      </p:cBhvr>
                                      <p:to>
                                        <p:strVal val="visible"/>
                                      </p:to>
                                    </p:set>
                                    <p:animEffect transition="in" filter="fade">
                                      <p:cBhvr>
                                        <p:cTn id="408" dur="2000"/>
                                        <p:tgtEl>
                                          <p:spTgt spid="68"/>
                                        </p:tgtEl>
                                      </p:cBhvr>
                                    </p:animEffect>
                                  </p:childTnLst>
                                </p:cTn>
                              </p:par>
                              <p:par>
                                <p:cTn id="409" presetID="10" presetClass="entr" presetSubtype="0" fill="hold" nodeType="withEffect">
                                  <p:stCondLst>
                                    <p:cond delay="0"/>
                                  </p:stCondLst>
                                  <p:childTnLst>
                                    <p:set>
                                      <p:cBhvr>
                                        <p:cTn id="410" dur="1" fill="hold">
                                          <p:stCondLst>
                                            <p:cond delay="0"/>
                                          </p:stCondLst>
                                        </p:cTn>
                                        <p:tgtEl>
                                          <p:spTgt spid="69"/>
                                        </p:tgtEl>
                                        <p:attrNameLst>
                                          <p:attrName>style.visibility</p:attrName>
                                        </p:attrNameLst>
                                      </p:cBhvr>
                                      <p:to>
                                        <p:strVal val="visible"/>
                                      </p:to>
                                    </p:set>
                                    <p:animEffect transition="in" filter="fade">
                                      <p:cBhvr>
                                        <p:cTn id="411" dur="2000"/>
                                        <p:tgtEl>
                                          <p:spTgt spid="69"/>
                                        </p:tgtEl>
                                      </p:cBhvr>
                                    </p:animEffect>
                                  </p:childTnLst>
                                </p:cTn>
                              </p:par>
                              <p:par>
                                <p:cTn id="412" presetID="10" presetClass="entr" presetSubtype="0" fill="hold" grpId="0" nodeType="withEffect">
                                  <p:stCondLst>
                                    <p:cond delay="0"/>
                                  </p:stCondLst>
                                  <p:childTnLst>
                                    <p:set>
                                      <p:cBhvr>
                                        <p:cTn id="413" dur="1" fill="hold">
                                          <p:stCondLst>
                                            <p:cond delay="0"/>
                                          </p:stCondLst>
                                        </p:cTn>
                                        <p:tgtEl>
                                          <p:spTgt spid="70"/>
                                        </p:tgtEl>
                                        <p:attrNameLst>
                                          <p:attrName>style.visibility</p:attrName>
                                        </p:attrNameLst>
                                      </p:cBhvr>
                                      <p:to>
                                        <p:strVal val="visible"/>
                                      </p:to>
                                    </p:set>
                                    <p:animEffect transition="in" filter="fade">
                                      <p:cBhvr>
                                        <p:cTn id="414" dur="2000"/>
                                        <p:tgtEl>
                                          <p:spTgt spid="70"/>
                                        </p:tgtEl>
                                      </p:cBhvr>
                                    </p:animEffect>
                                  </p:childTnLst>
                                </p:cTn>
                              </p:par>
                              <p:par>
                                <p:cTn id="415" presetID="10" presetClass="entr" presetSubtype="0" fill="hold" grpId="0" nodeType="withEffect">
                                  <p:stCondLst>
                                    <p:cond delay="0"/>
                                  </p:stCondLst>
                                  <p:childTnLst>
                                    <p:set>
                                      <p:cBhvr>
                                        <p:cTn id="416" dur="1" fill="hold">
                                          <p:stCondLst>
                                            <p:cond delay="0"/>
                                          </p:stCondLst>
                                        </p:cTn>
                                        <p:tgtEl>
                                          <p:spTgt spid="71"/>
                                        </p:tgtEl>
                                        <p:attrNameLst>
                                          <p:attrName>style.visibility</p:attrName>
                                        </p:attrNameLst>
                                      </p:cBhvr>
                                      <p:to>
                                        <p:strVal val="visible"/>
                                      </p:to>
                                    </p:set>
                                    <p:animEffect transition="in" filter="fade">
                                      <p:cBhvr>
                                        <p:cTn id="417" dur="2000"/>
                                        <p:tgtEl>
                                          <p:spTgt spid="71"/>
                                        </p:tgtEl>
                                      </p:cBhvr>
                                    </p:animEffect>
                                  </p:childTnLst>
                                </p:cTn>
                              </p:par>
                              <p:par>
                                <p:cTn id="418" presetID="10" presetClass="entr" presetSubtype="0" fill="hold" grpId="0" nodeType="withEffect">
                                  <p:stCondLst>
                                    <p:cond delay="0"/>
                                  </p:stCondLst>
                                  <p:childTnLst>
                                    <p:set>
                                      <p:cBhvr>
                                        <p:cTn id="419" dur="1" fill="hold">
                                          <p:stCondLst>
                                            <p:cond delay="0"/>
                                          </p:stCondLst>
                                        </p:cTn>
                                        <p:tgtEl>
                                          <p:spTgt spid="98"/>
                                        </p:tgtEl>
                                        <p:attrNameLst>
                                          <p:attrName>style.visibility</p:attrName>
                                        </p:attrNameLst>
                                      </p:cBhvr>
                                      <p:to>
                                        <p:strVal val="visible"/>
                                      </p:to>
                                    </p:set>
                                    <p:animEffect transition="in" filter="fade">
                                      <p:cBhvr>
                                        <p:cTn id="420" dur="2000"/>
                                        <p:tgtEl>
                                          <p:spTgt spid="98"/>
                                        </p:tgtEl>
                                      </p:cBhvr>
                                    </p:animEffect>
                                  </p:childTnLst>
                                </p:cTn>
                              </p:par>
                              <p:par>
                                <p:cTn id="421" presetID="10" presetClass="entr" presetSubtype="0" fill="hold" grpId="0" nodeType="withEffect">
                                  <p:stCondLst>
                                    <p:cond delay="0"/>
                                  </p:stCondLst>
                                  <p:childTnLst>
                                    <p:set>
                                      <p:cBhvr>
                                        <p:cTn id="422" dur="1" fill="hold">
                                          <p:stCondLst>
                                            <p:cond delay="0"/>
                                          </p:stCondLst>
                                        </p:cTn>
                                        <p:tgtEl>
                                          <p:spTgt spid="99"/>
                                        </p:tgtEl>
                                        <p:attrNameLst>
                                          <p:attrName>style.visibility</p:attrName>
                                        </p:attrNameLst>
                                      </p:cBhvr>
                                      <p:to>
                                        <p:strVal val="visible"/>
                                      </p:to>
                                    </p:set>
                                    <p:animEffect transition="in" filter="fade">
                                      <p:cBhvr>
                                        <p:cTn id="423" dur="2000"/>
                                        <p:tgtEl>
                                          <p:spTgt spid="99"/>
                                        </p:tgtEl>
                                      </p:cBhvr>
                                    </p:animEffect>
                                  </p:childTnLst>
                                </p:cTn>
                              </p:par>
                              <p:par>
                                <p:cTn id="424" presetID="10" presetClass="entr" presetSubtype="0" fill="hold" grpId="0" nodeType="withEffect">
                                  <p:stCondLst>
                                    <p:cond delay="0"/>
                                  </p:stCondLst>
                                  <p:childTnLst>
                                    <p:set>
                                      <p:cBhvr>
                                        <p:cTn id="425" dur="1" fill="hold">
                                          <p:stCondLst>
                                            <p:cond delay="0"/>
                                          </p:stCondLst>
                                        </p:cTn>
                                        <p:tgtEl>
                                          <p:spTgt spid="100"/>
                                        </p:tgtEl>
                                        <p:attrNameLst>
                                          <p:attrName>style.visibility</p:attrName>
                                        </p:attrNameLst>
                                      </p:cBhvr>
                                      <p:to>
                                        <p:strVal val="visible"/>
                                      </p:to>
                                    </p:set>
                                    <p:animEffect transition="in" filter="fade">
                                      <p:cBhvr>
                                        <p:cTn id="426" dur="2000"/>
                                        <p:tgtEl>
                                          <p:spTgt spid="100"/>
                                        </p:tgtEl>
                                      </p:cBhvr>
                                    </p:animEffect>
                                  </p:childTnLst>
                                </p:cTn>
                              </p:par>
                              <p:par>
                                <p:cTn id="427" presetID="10" presetClass="entr" presetSubtype="0" fill="hold" nodeType="withEffect">
                                  <p:stCondLst>
                                    <p:cond delay="0"/>
                                  </p:stCondLst>
                                  <p:childTnLst>
                                    <p:set>
                                      <p:cBhvr>
                                        <p:cTn id="428" dur="1" fill="hold">
                                          <p:stCondLst>
                                            <p:cond delay="0"/>
                                          </p:stCondLst>
                                        </p:cTn>
                                        <p:tgtEl>
                                          <p:spTgt spid="101"/>
                                        </p:tgtEl>
                                        <p:attrNameLst>
                                          <p:attrName>style.visibility</p:attrName>
                                        </p:attrNameLst>
                                      </p:cBhvr>
                                      <p:to>
                                        <p:strVal val="visible"/>
                                      </p:to>
                                    </p:set>
                                    <p:animEffect transition="in" filter="fade">
                                      <p:cBhvr>
                                        <p:cTn id="429" dur="2000"/>
                                        <p:tgtEl>
                                          <p:spTgt spid="101"/>
                                        </p:tgtEl>
                                      </p:cBhvr>
                                    </p:animEffect>
                                  </p:childTnLst>
                                </p:cTn>
                              </p:par>
                              <p:par>
                                <p:cTn id="430" presetID="10" presetClass="entr" presetSubtype="0" fill="hold" nodeType="withEffect">
                                  <p:stCondLst>
                                    <p:cond delay="0"/>
                                  </p:stCondLst>
                                  <p:childTnLst>
                                    <p:set>
                                      <p:cBhvr>
                                        <p:cTn id="431" dur="1" fill="hold">
                                          <p:stCondLst>
                                            <p:cond delay="0"/>
                                          </p:stCondLst>
                                        </p:cTn>
                                        <p:tgtEl>
                                          <p:spTgt spid="102"/>
                                        </p:tgtEl>
                                        <p:attrNameLst>
                                          <p:attrName>style.visibility</p:attrName>
                                        </p:attrNameLst>
                                      </p:cBhvr>
                                      <p:to>
                                        <p:strVal val="visible"/>
                                      </p:to>
                                    </p:set>
                                    <p:animEffect transition="in" filter="fade">
                                      <p:cBhvr>
                                        <p:cTn id="432" dur="2000"/>
                                        <p:tgtEl>
                                          <p:spTgt spid="102"/>
                                        </p:tgtEl>
                                      </p:cBhvr>
                                    </p:animEffect>
                                  </p:childTnLst>
                                </p:cTn>
                              </p:par>
                              <p:par>
                                <p:cTn id="433" presetID="10" presetClass="entr" presetSubtype="0" fill="hold" nodeType="withEffect">
                                  <p:stCondLst>
                                    <p:cond delay="0"/>
                                  </p:stCondLst>
                                  <p:childTnLst>
                                    <p:set>
                                      <p:cBhvr>
                                        <p:cTn id="434" dur="1" fill="hold">
                                          <p:stCondLst>
                                            <p:cond delay="0"/>
                                          </p:stCondLst>
                                        </p:cTn>
                                        <p:tgtEl>
                                          <p:spTgt spid="103"/>
                                        </p:tgtEl>
                                        <p:attrNameLst>
                                          <p:attrName>style.visibility</p:attrName>
                                        </p:attrNameLst>
                                      </p:cBhvr>
                                      <p:to>
                                        <p:strVal val="visible"/>
                                      </p:to>
                                    </p:set>
                                    <p:animEffect transition="in" filter="fade">
                                      <p:cBhvr>
                                        <p:cTn id="435" dur="2000"/>
                                        <p:tgtEl>
                                          <p:spTgt spid="103"/>
                                        </p:tgtEl>
                                      </p:cBhvr>
                                    </p:animEffect>
                                  </p:childTnLst>
                                </p:cTn>
                              </p:par>
                              <p:par>
                                <p:cTn id="436" presetID="10" presetClass="entr" presetSubtype="0" fill="hold" grpId="0" nodeType="withEffect">
                                  <p:stCondLst>
                                    <p:cond delay="0"/>
                                  </p:stCondLst>
                                  <p:childTnLst>
                                    <p:set>
                                      <p:cBhvr>
                                        <p:cTn id="437" dur="1" fill="hold">
                                          <p:stCondLst>
                                            <p:cond delay="0"/>
                                          </p:stCondLst>
                                        </p:cTn>
                                        <p:tgtEl>
                                          <p:spTgt spid="104"/>
                                        </p:tgtEl>
                                        <p:attrNameLst>
                                          <p:attrName>style.visibility</p:attrName>
                                        </p:attrNameLst>
                                      </p:cBhvr>
                                      <p:to>
                                        <p:strVal val="visible"/>
                                      </p:to>
                                    </p:set>
                                    <p:animEffect transition="in" filter="fade">
                                      <p:cBhvr>
                                        <p:cTn id="438" dur="2000"/>
                                        <p:tgtEl>
                                          <p:spTgt spid="104"/>
                                        </p:tgtEl>
                                      </p:cBhvr>
                                    </p:animEffect>
                                  </p:childTnLst>
                                </p:cTn>
                              </p:par>
                              <p:par>
                                <p:cTn id="439" presetID="10" presetClass="entr" presetSubtype="0" fill="hold" grpId="0" nodeType="withEffect">
                                  <p:stCondLst>
                                    <p:cond delay="0"/>
                                  </p:stCondLst>
                                  <p:childTnLst>
                                    <p:set>
                                      <p:cBhvr>
                                        <p:cTn id="440" dur="1" fill="hold">
                                          <p:stCondLst>
                                            <p:cond delay="0"/>
                                          </p:stCondLst>
                                        </p:cTn>
                                        <p:tgtEl>
                                          <p:spTgt spid="106"/>
                                        </p:tgtEl>
                                        <p:attrNameLst>
                                          <p:attrName>style.visibility</p:attrName>
                                        </p:attrNameLst>
                                      </p:cBhvr>
                                      <p:to>
                                        <p:strVal val="visible"/>
                                      </p:to>
                                    </p:set>
                                    <p:animEffect transition="in" filter="fade">
                                      <p:cBhvr>
                                        <p:cTn id="441" dur="2000"/>
                                        <p:tgtEl>
                                          <p:spTgt spid="106"/>
                                        </p:tgtEl>
                                      </p:cBhvr>
                                    </p:animEffect>
                                  </p:childTnLst>
                                </p:cTn>
                              </p:par>
                              <p:par>
                                <p:cTn id="442" presetID="10" presetClass="entr" presetSubtype="0" fill="hold" grpId="0" nodeType="withEffect">
                                  <p:stCondLst>
                                    <p:cond delay="0"/>
                                  </p:stCondLst>
                                  <p:childTnLst>
                                    <p:set>
                                      <p:cBhvr>
                                        <p:cTn id="443" dur="1" fill="hold">
                                          <p:stCondLst>
                                            <p:cond delay="0"/>
                                          </p:stCondLst>
                                        </p:cTn>
                                        <p:tgtEl>
                                          <p:spTgt spid="135"/>
                                        </p:tgtEl>
                                        <p:attrNameLst>
                                          <p:attrName>style.visibility</p:attrName>
                                        </p:attrNameLst>
                                      </p:cBhvr>
                                      <p:to>
                                        <p:strVal val="visible"/>
                                      </p:to>
                                    </p:set>
                                    <p:animEffect transition="in" filter="fade">
                                      <p:cBhvr>
                                        <p:cTn id="444" dur="2000"/>
                                        <p:tgtEl>
                                          <p:spTgt spid="135"/>
                                        </p:tgtEl>
                                      </p:cBhvr>
                                    </p:animEffect>
                                  </p:childTnLst>
                                </p:cTn>
                              </p:par>
                              <p:par>
                                <p:cTn id="445" presetID="10" presetClass="entr" presetSubtype="0" fill="hold" nodeType="withEffect">
                                  <p:stCondLst>
                                    <p:cond delay="0"/>
                                  </p:stCondLst>
                                  <p:childTnLst>
                                    <p:set>
                                      <p:cBhvr>
                                        <p:cTn id="446" dur="1" fill="hold">
                                          <p:stCondLst>
                                            <p:cond delay="0"/>
                                          </p:stCondLst>
                                        </p:cTn>
                                        <p:tgtEl>
                                          <p:spTgt spid="107"/>
                                        </p:tgtEl>
                                        <p:attrNameLst>
                                          <p:attrName>style.visibility</p:attrName>
                                        </p:attrNameLst>
                                      </p:cBhvr>
                                      <p:to>
                                        <p:strVal val="visible"/>
                                      </p:to>
                                    </p:set>
                                    <p:animEffect transition="in" filter="fade">
                                      <p:cBhvr>
                                        <p:cTn id="447" dur="2000"/>
                                        <p:tgtEl>
                                          <p:spTgt spid="107"/>
                                        </p:tgtEl>
                                      </p:cBhvr>
                                    </p:animEffect>
                                  </p:childTnLst>
                                </p:cTn>
                              </p:par>
                              <p:par>
                                <p:cTn id="448" presetID="10" presetClass="entr" presetSubtype="0" fill="hold" nodeType="withEffect">
                                  <p:stCondLst>
                                    <p:cond delay="0"/>
                                  </p:stCondLst>
                                  <p:childTnLst>
                                    <p:set>
                                      <p:cBhvr>
                                        <p:cTn id="449" dur="1" fill="hold">
                                          <p:stCondLst>
                                            <p:cond delay="0"/>
                                          </p:stCondLst>
                                        </p:cTn>
                                        <p:tgtEl>
                                          <p:spTgt spid="105"/>
                                        </p:tgtEl>
                                        <p:attrNameLst>
                                          <p:attrName>style.visibility</p:attrName>
                                        </p:attrNameLst>
                                      </p:cBhvr>
                                      <p:to>
                                        <p:strVal val="visible"/>
                                      </p:to>
                                    </p:set>
                                    <p:animEffect transition="in" filter="fade">
                                      <p:cBhvr>
                                        <p:cTn id="450" dur="20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36" grpId="0"/>
      <p:bldP spid="37" grpId="0"/>
      <p:bldP spid="38" grpId="0"/>
      <p:bldP spid="65" grpId="0"/>
      <p:bldP spid="70" grpId="0" animBg="1"/>
      <p:bldP spid="71" grpId="0"/>
      <p:bldP spid="72" grpId="0" animBg="1"/>
      <p:bldP spid="73" grpId="0"/>
      <p:bldP spid="76" grpId="0" animBg="1"/>
      <p:bldP spid="77" grpId="0"/>
      <p:bldP spid="80" grpId="0" animBg="1"/>
      <p:bldP spid="83" grpId="0"/>
      <p:bldP spid="84" grpId="0"/>
      <p:bldP spid="85" grpId="0"/>
      <p:bldP spid="93" grpId="0"/>
      <p:bldP spid="94" grpId="0"/>
      <p:bldP spid="95" grpId="0"/>
      <p:bldP spid="96" grpId="0"/>
      <p:bldP spid="97" grpId="0"/>
      <p:bldP spid="98" grpId="0" animBg="1"/>
      <p:bldP spid="99" grpId="0" animBg="1"/>
      <p:bldP spid="100" grpId="0" animBg="1"/>
      <p:bldP spid="104" grpId="0" animBg="1"/>
      <p:bldP spid="106" grpId="0" animBg="1"/>
      <p:bldP spid="108" grpId="0"/>
      <p:bldP spid="109" grpId="0" animBg="1"/>
      <p:bldP spid="114" grpId="0" animBg="1"/>
      <p:bldP spid="115" grpId="0"/>
      <p:bldP spid="120" grpId="0"/>
      <p:bldP spid="127" grpId="0" animBg="1"/>
      <p:bldP spid="128" grpId="0" animBg="1"/>
      <p:bldP spid="130" grpId="0"/>
      <p:bldP spid="132" grpId="0"/>
      <p:bldP spid="133" grpId="0"/>
      <p:bldP spid="135" grpId="0"/>
      <p:bldP spid="137" grpId="0"/>
      <p:bldP spid="138" grpId="0"/>
      <p:bldP spid="139" grpId="0"/>
      <p:bldP spid="140" grpId="0"/>
      <p:bldP spid="141" grpId="0"/>
      <p:bldP spid="142" grpId="0"/>
      <p:bldP spid="143" grpId="0"/>
      <p:bldP spid="14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a:t>An Adoption Approach</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66406336"/>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29189" y="2645421"/>
            <a:ext cx="1500597" cy="870495"/>
          </a:xfrm>
          <a:prstGeom prst="rect">
            <a:avLst/>
          </a:prstGeom>
        </p:spPr>
        <p:txBody>
          <a:bodyPr vert="horz" wrap="square" lIns="0" tIns="0" rIns="0" bIns="0" rtlCol="0">
            <a:spAutoFit/>
          </a:bodyPr>
          <a:lstStyle/>
          <a:p>
            <a:pPr marR="1925" algn="ctr" defTabSz="554492"/>
            <a:r>
              <a:rPr sz="1577" b="1" spc="94" dirty="0">
                <a:solidFill>
                  <a:srgbClr val="6C7775"/>
                </a:solidFill>
                <a:latin typeface="Arial"/>
                <a:cs typeface="Arial"/>
              </a:rPr>
              <a:t>Week</a:t>
            </a:r>
            <a:r>
              <a:rPr sz="1577" b="1" spc="109" dirty="0">
                <a:solidFill>
                  <a:srgbClr val="6C7775"/>
                </a:solidFill>
                <a:latin typeface="Arial"/>
                <a:cs typeface="Arial"/>
              </a:rPr>
              <a:t> </a:t>
            </a:r>
            <a:r>
              <a:rPr sz="1577" b="1" spc="12" dirty="0">
                <a:solidFill>
                  <a:srgbClr val="6C7775"/>
                </a:solidFill>
                <a:latin typeface="Arial"/>
                <a:cs typeface="Arial"/>
              </a:rPr>
              <a:t>1</a:t>
            </a:r>
            <a:endParaRPr sz="1577" dirty="0">
              <a:solidFill>
                <a:prstClr val="black"/>
              </a:solidFill>
              <a:latin typeface="Arial"/>
              <a:cs typeface="Arial"/>
            </a:endParaRPr>
          </a:p>
          <a:p>
            <a:pPr marL="7316" marR="3081" algn="ctr" defTabSz="554492">
              <a:lnSpc>
                <a:spcPct val="111600"/>
              </a:lnSpc>
              <a:spcBef>
                <a:spcPts val="55"/>
              </a:spcBef>
            </a:pPr>
            <a:r>
              <a:rPr sz="1182" spc="30" dirty="0">
                <a:solidFill>
                  <a:srgbClr val="6C7775"/>
                </a:solidFill>
                <a:latin typeface="Arial"/>
                <a:cs typeface="Arial"/>
              </a:rPr>
              <a:t>Decipher </a:t>
            </a:r>
            <a:r>
              <a:rPr sz="1182" spc="27" dirty="0">
                <a:solidFill>
                  <a:srgbClr val="6C7775"/>
                </a:solidFill>
                <a:latin typeface="Arial"/>
                <a:cs typeface="Arial"/>
              </a:rPr>
              <a:t>the </a:t>
            </a:r>
            <a:r>
              <a:rPr sz="1182" spc="33" dirty="0">
                <a:solidFill>
                  <a:srgbClr val="6C7775"/>
                </a:solidFill>
                <a:latin typeface="Arial"/>
                <a:cs typeface="Arial"/>
              </a:rPr>
              <a:t>Market;  </a:t>
            </a:r>
            <a:r>
              <a:rPr sz="1182" spc="18" dirty="0">
                <a:solidFill>
                  <a:srgbClr val="6C7775"/>
                </a:solidFill>
                <a:latin typeface="Arial"/>
                <a:cs typeface="Arial"/>
              </a:rPr>
              <a:t>Define</a:t>
            </a:r>
            <a:r>
              <a:rPr sz="1182" spc="6" dirty="0">
                <a:solidFill>
                  <a:srgbClr val="6C7775"/>
                </a:solidFill>
                <a:latin typeface="Arial"/>
                <a:cs typeface="Arial"/>
              </a:rPr>
              <a:t> </a:t>
            </a:r>
            <a:r>
              <a:rPr sz="1182" spc="27" dirty="0">
                <a:solidFill>
                  <a:srgbClr val="6C7775"/>
                </a:solidFill>
                <a:latin typeface="Arial"/>
                <a:cs typeface="Arial"/>
              </a:rPr>
              <a:t>Business</a:t>
            </a:r>
            <a:endParaRPr sz="1182" dirty="0">
              <a:solidFill>
                <a:prstClr val="black"/>
              </a:solidFill>
              <a:latin typeface="Arial"/>
              <a:cs typeface="Arial"/>
            </a:endParaRPr>
          </a:p>
          <a:p>
            <a:pPr algn="ctr" defTabSz="554492">
              <a:spcBef>
                <a:spcPts val="164"/>
              </a:spcBef>
            </a:pPr>
            <a:r>
              <a:rPr sz="1182" spc="33" dirty="0">
                <a:solidFill>
                  <a:srgbClr val="6C7775"/>
                </a:solidFill>
                <a:latin typeface="Arial"/>
                <a:cs typeface="Arial"/>
              </a:rPr>
              <a:t>Objectives</a:t>
            </a:r>
            <a:endParaRPr sz="1182" dirty="0">
              <a:solidFill>
                <a:prstClr val="black"/>
              </a:solidFill>
              <a:latin typeface="Arial"/>
              <a:cs typeface="Arial"/>
            </a:endParaRPr>
          </a:p>
        </p:txBody>
      </p:sp>
      <p:sp>
        <p:nvSpPr>
          <p:cNvPr id="3" name="object 3"/>
          <p:cNvSpPr txBox="1"/>
          <p:nvPr/>
        </p:nvSpPr>
        <p:spPr>
          <a:xfrm>
            <a:off x="4548341" y="691002"/>
            <a:ext cx="1118613" cy="662938"/>
          </a:xfrm>
          <a:prstGeom prst="rect">
            <a:avLst/>
          </a:prstGeom>
        </p:spPr>
        <p:txBody>
          <a:bodyPr vert="horz" wrap="square" lIns="0" tIns="0" rIns="0" bIns="0" rtlCol="0">
            <a:spAutoFit/>
          </a:bodyPr>
          <a:lstStyle/>
          <a:p>
            <a:pPr marR="2695" algn="ctr" defTabSz="554492"/>
            <a:r>
              <a:rPr sz="1577" b="1" spc="94" dirty="0">
                <a:solidFill>
                  <a:srgbClr val="6C7775"/>
                </a:solidFill>
                <a:latin typeface="Arial"/>
                <a:cs typeface="Arial"/>
              </a:rPr>
              <a:t>Week</a:t>
            </a:r>
            <a:r>
              <a:rPr sz="1577" b="1" spc="112" dirty="0">
                <a:solidFill>
                  <a:srgbClr val="6C7775"/>
                </a:solidFill>
                <a:latin typeface="Arial"/>
                <a:cs typeface="Arial"/>
              </a:rPr>
              <a:t> </a:t>
            </a:r>
            <a:r>
              <a:rPr sz="1577" b="1" spc="100" dirty="0">
                <a:solidFill>
                  <a:srgbClr val="6C7775"/>
                </a:solidFill>
                <a:latin typeface="Arial"/>
                <a:cs typeface="Arial"/>
              </a:rPr>
              <a:t>3-4</a:t>
            </a:r>
            <a:endParaRPr sz="1577" dirty="0">
              <a:solidFill>
                <a:prstClr val="black"/>
              </a:solidFill>
              <a:latin typeface="Arial"/>
              <a:cs typeface="Arial"/>
            </a:endParaRPr>
          </a:p>
          <a:p>
            <a:pPr marL="7701" marR="3081" algn="ctr" defTabSz="554492">
              <a:lnSpc>
                <a:spcPct val="111600"/>
              </a:lnSpc>
              <a:spcBef>
                <a:spcPts val="55"/>
              </a:spcBef>
            </a:pPr>
            <a:r>
              <a:rPr sz="1182" spc="27" dirty="0">
                <a:solidFill>
                  <a:srgbClr val="6C7775"/>
                </a:solidFill>
                <a:latin typeface="Arial"/>
                <a:cs typeface="Arial"/>
              </a:rPr>
              <a:t>Select </a:t>
            </a:r>
            <a:r>
              <a:rPr sz="1182" spc="30" dirty="0">
                <a:solidFill>
                  <a:srgbClr val="6C7775"/>
                </a:solidFill>
                <a:latin typeface="Arial"/>
                <a:cs typeface="Arial"/>
              </a:rPr>
              <a:t>and </a:t>
            </a:r>
            <a:r>
              <a:rPr sz="1182" spc="18" dirty="0">
                <a:solidFill>
                  <a:srgbClr val="6C7775"/>
                </a:solidFill>
                <a:latin typeface="Arial"/>
                <a:cs typeface="Arial"/>
              </a:rPr>
              <a:t>Test  </a:t>
            </a:r>
            <a:r>
              <a:rPr sz="1182" spc="15" dirty="0">
                <a:solidFill>
                  <a:srgbClr val="6C7775"/>
                </a:solidFill>
                <a:latin typeface="Arial"/>
                <a:cs typeface="Arial"/>
              </a:rPr>
              <a:t>Use</a:t>
            </a:r>
            <a:r>
              <a:rPr sz="1182" spc="-6" dirty="0">
                <a:solidFill>
                  <a:srgbClr val="6C7775"/>
                </a:solidFill>
                <a:latin typeface="Arial"/>
                <a:cs typeface="Arial"/>
              </a:rPr>
              <a:t> </a:t>
            </a:r>
            <a:r>
              <a:rPr sz="1182" spc="18" dirty="0">
                <a:solidFill>
                  <a:srgbClr val="6C7775"/>
                </a:solidFill>
                <a:latin typeface="Arial"/>
                <a:cs typeface="Arial"/>
              </a:rPr>
              <a:t>Cases</a:t>
            </a:r>
            <a:endParaRPr sz="1182" dirty="0">
              <a:solidFill>
                <a:prstClr val="black"/>
              </a:solidFill>
              <a:latin typeface="Arial"/>
              <a:cs typeface="Arial"/>
            </a:endParaRPr>
          </a:p>
        </p:txBody>
      </p:sp>
      <p:sp>
        <p:nvSpPr>
          <p:cNvPr id="4" name="object 4"/>
          <p:cNvSpPr txBox="1"/>
          <p:nvPr/>
        </p:nvSpPr>
        <p:spPr>
          <a:xfrm>
            <a:off x="6426285" y="1301328"/>
            <a:ext cx="1441682" cy="662938"/>
          </a:xfrm>
          <a:prstGeom prst="rect">
            <a:avLst/>
          </a:prstGeom>
        </p:spPr>
        <p:txBody>
          <a:bodyPr vert="horz" wrap="square" lIns="0" tIns="0" rIns="0" bIns="0" rtlCol="0">
            <a:spAutoFit/>
          </a:bodyPr>
          <a:lstStyle/>
          <a:p>
            <a:pPr marR="4621" algn="ctr" defTabSz="554492"/>
            <a:r>
              <a:rPr sz="1577" b="1" spc="94" dirty="0">
                <a:solidFill>
                  <a:srgbClr val="6C7775"/>
                </a:solidFill>
                <a:latin typeface="Arial"/>
                <a:cs typeface="Arial"/>
              </a:rPr>
              <a:t>Week</a:t>
            </a:r>
            <a:r>
              <a:rPr sz="1577" b="1" spc="112" dirty="0">
                <a:solidFill>
                  <a:srgbClr val="6C7775"/>
                </a:solidFill>
                <a:latin typeface="Arial"/>
                <a:cs typeface="Arial"/>
              </a:rPr>
              <a:t> </a:t>
            </a:r>
            <a:r>
              <a:rPr sz="1577" b="1" spc="100" dirty="0">
                <a:solidFill>
                  <a:srgbClr val="6C7775"/>
                </a:solidFill>
                <a:latin typeface="Arial"/>
                <a:cs typeface="Arial"/>
              </a:rPr>
              <a:t>4-8</a:t>
            </a:r>
            <a:endParaRPr sz="1577">
              <a:solidFill>
                <a:prstClr val="black"/>
              </a:solidFill>
              <a:latin typeface="Arial"/>
              <a:cs typeface="Arial"/>
            </a:endParaRPr>
          </a:p>
          <a:p>
            <a:pPr marL="7701" marR="3081" algn="ctr" defTabSz="554492">
              <a:lnSpc>
                <a:spcPct val="111600"/>
              </a:lnSpc>
              <a:spcBef>
                <a:spcPts val="55"/>
              </a:spcBef>
            </a:pPr>
            <a:r>
              <a:rPr sz="1182" spc="21" dirty="0">
                <a:solidFill>
                  <a:srgbClr val="6C7775"/>
                </a:solidFill>
                <a:latin typeface="Arial"/>
                <a:cs typeface="Arial"/>
              </a:rPr>
              <a:t>Design </a:t>
            </a:r>
            <a:r>
              <a:rPr sz="1182" spc="30" dirty="0">
                <a:solidFill>
                  <a:srgbClr val="6C7775"/>
                </a:solidFill>
                <a:latin typeface="Arial"/>
                <a:cs typeface="Arial"/>
              </a:rPr>
              <a:t>and Develop  </a:t>
            </a:r>
            <a:r>
              <a:rPr sz="1182" spc="33" dirty="0">
                <a:solidFill>
                  <a:srgbClr val="6C7775"/>
                </a:solidFill>
                <a:latin typeface="Arial"/>
                <a:cs typeface="Arial"/>
              </a:rPr>
              <a:t>Solution</a:t>
            </a:r>
            <a:endParaRPr sz="1182">
              <a:solidFill>
                <a:prstClr val="black"/>
              </a:solidFill>
              <a:latin typeface="Arial"/>
              <a:cs typeface="Arial"/>
            </a:endParaRPr>
          </a:p>
        </p:txBody>
      </p:sp>
      <p:sp>
        <p:nvSpPr>
          <p:cNvPr id="5" name="object 5"/>
          <p:cNvSpPr txBox="1"/>
          <p:nvPr/>
        </p:nvSpPr>
        <p:spPr>
          <a:xfrm>
            <a:off x="2051963" y="1465407"/>
            <a:ext cx="1897598" cy="865365"/>
          </a:xfrm>
          <a:prstGeom prst="rect">
            <a:avLst/>
          </a:prstGeom>
        </p:spPr>
        <p:txBody>
          <a:bodyPr vert="horz" wrap="square" lIns="0" tIns="0" rIns="0" bIns="0" rtlCol="0">
            <a:spAutoFit/>
          </a:bodyPr>
          <a:lstStyle/>
          <a:p>
            <a:pPr marR="2695" algn="ctr" defTabSz="554492"/>
            <a:r>
              <a:rPr sz="1577" b="1" spc="94" dirty="0">
                <a:solidFill>
                  <a:srgbClr val="6C7775"/>
                </a:solidFill>
                <a:latin typeface="Arial"/>
                <a:cs typeface="Arial"/>
              </a:rPr>
              <a:t>Week</a:t>
            </a:r>
            <a:r>
              <a:rPr sz="1577" b="1" spc="109" dirty="0">
                <a:solidFill>
                  <a:srgbClr val="6C7775"/>
                </a:solidFill>
                <a:latin typeface="Arial"/>
                <a:cs typeface="Arial"/>
              </a:rPr>
              <a:t> </a:t>
            </a:r>
            <a:r>
              <a:rPr sz="1577" b="1" spc="12" dirty="0">
                <a:solidFill>
                  <a:srgbClr val="6C7775"/>
                </a:solidFill>
                <a:latin typeface="Arial"/>
                <a:cs typeface="Arial"/>
              </a:rPr>
              <a:t>2</a:t>
            </a:r>
            <a:endParaRPr sz="1577">
              <a:solidFill>
                <a:prstClr val="black"/>
              </a:solidFill>
              <a:latin typeface="Arial"/>
              <a:cs typeface="Arial"/>
            </a:endParaRPr>
          </a:p>
          <a:p>
            <a:pPr algn="ctr" defTabSz="554492">
              <a:spcBef>
                <a:spcPts val="218"/>
              </a:spcBef>
            </a:pPr>
            <a:r>
              <a:rPr sz="1182" spc="33" dirty="0">
                <a:solidFill>
                  <a:srgbClr val="6C7775"/>
                </a:solidFill>
                <a:latin typeface="Arial"/>
                <a:cs typeface="Arial"/>
              </a:rPr>
              <a:t>Identify</a:t>
            </a:r>
            <a:endParaRPr sz="1182">
              <a:solidFill>
                <a:prstClr val="black"/>
              </a:solidFill>
              <a:latin typeface="Arial"/>
              <a:cs typeface="Arial"/>
            </a:endParaRPr>
          </a:p>
          <a:p>
            <a:pPr algn="ctr" defTabSz="554492">
              <a:spcBef>
                <a:spcPts val="164"/>
              </a:spcBef>
            </a:pPr>
            <a:r>
              <a:rPr sz="1182" spc="21" dirty="0">
                <a:solidFill>
                  <a:srgbClr val="6C7775"/>
                </a:solidFill>
                <a:latin typeface="Arial"/>
                <a:cs typeface="Arial"/>
              </a:rPr>
              <a:t>Internal </a:t>
            </a:r>
            <a:r>
              <a:rPr sz="1182" spc="69" dirty="0">
                <a:solidFill>
                  <a:srgbClr val="6C7775"/>
                </a:solidFill>
                <a:latin typeface="Arial"/>
                <a:cs typeface="Arial"/>
              </a:rPr>
              <a:t>/</a:t>
            </a:r>
            <a:r>
              <a:rPr sz="1182" spc="61" dirty="0">
                <a:solidFill>
                  <a:srgbClr val="6C7775"/>
                </a:solidFill>
                <a:latin typeface="Arial"/>
                <a:cs typeface="Arial"/>
              </a:rPr>
              <a:t> </a:t>
            </a:r>
            <a:r>
              <a:rPr sz="1182" spc="18" dirty="0">
                <a:solidFill>
                  <a:srgbClr val="6C7775"/>
                </a:solidFill>
                <a:latin typeface="Arial"/>
                <a:cs typeface="Arial"/>
              </a:rPr>
              <a:t>External</a:t>
            </a:r>
            <a:endParaRPr sz="1182">
              <a:solidFill>
                <a:prstClr val="black"/>
              </a:solidFill>
              <a:latin typeface="Arial"/>
              <a:cs typeface="Arial"/>
            </a:endParaRPr>
          </a:p>
          <a:p>
            <a:pPr algn="ctr" defTabSz="554492">
              <a:spcBef>
                <a:spcPts val="164"/>
              </a:spcBef>
            </a:pPr>
            <a:r>
              <a:rPr sz="1182" spc="24" dirty="0">
                <a:solidFill>
                  <a:srgbClr val="6C7775"/>
                </a:solidFill>
                <a:latin typeface="Arial"/>
                <a:cs typeface="Arial"/>
              </a:rPr>
              <a:t>Partners </a:t>
            </a:r>
            <a:r>
              <a:rPr sz="1182" spc="30" dirty="0">
                <a:solidFill>
                  <a:srgbClr val="6C7775"/>
                </a:solidFill>
                <a:latin typeface="Arial"/>
                <a:cs typeface="Arial"/>
              </a:rPr>
              <a:t>and</a:t>
            </a:r>
            <a:r>
              <a:rPr sz="1182" spc="49" dirty="0">
                <a:solidFill>
                  <a:srgbClr val="6C7775"/>
                </a:solidFill>
                <a:latin typeface="Arial"/>
                <a:cs typeface="Arial"/>
              </a:rPr>
              <a:t> </a:t>
            </a:r>
            <a:r>
              <a:rPr sz="1182" spc="30" dirty="0">
                <a:solidFill>
                  <a:srgbClr val="6C7775"/>
                </a:solidFill>
                <a:latin typeface="Arial"/>
                <a:cs typeface="Arial"/>
              </a:rPr>
              <a:t>Stakeholders</a:t>
            </a:r>
            <a:endParaRPr sz="1182">
              <a:solidFill>
                <a:prstClr val="black"/>
              </a:solidFill>
              <a:latin typeface="Arial"/>
              <a:cs typeface="Arial"/>
            </a:endParaRPr>
          </a:p>
        </p:txBody>
      </p:sp>
      <p:sp>
        <p:nvSpPr>
          <p:cNvPr id="6" name="object 6"/>
          <p:cNvSpPr txBox="1"/>
          <p:nvPr/>
        </p:nvSpPr>
        <p:spPr>
          <a:xfrm>
            <a:off x="8621009" y="975081"/>
            <a:ext cx="1125544" cy="662938"/>
          </a:xfrm>
          <a:prstGeom prst="rect">
            <a:avLst/>
          </a:prstGeom>
        </p:spPr>
        <p:txBody>
          <a:bodyPr vert="horz" wrap="square" lIns="0" tIns="0" rIns="0" bIns="0" rtlCol="0">
            <a:spAutoFit/>
          </a:bodyPr>
          <a:lstStyle/>
          <a:p>
            <a:pPr marL="7701" defTabSz="554492"/>
            <a:r>
              <a:rPr sz="1577" b="1" spc="94" dirty="0">
                <a:solidFill>
                  <a:srgbClr val="6C7775"/>
                </a:solidFill>
                <a:latin typeface="Arial"/>
                <a:cs typeface="Arial"/>
              </a:rPr>
              <a:t>Week</a:t>
            </a:r>
            <a:r>
              <a:rPr sz="1577" b="1" spc="115" dirty="0">
                <a:solidFill>
                  <a:srgbClr val="6C7775"/>
                </a:solidFill>
                <a:latin typeface="Arial"/>
                <a:cs typeface="Arial"/>
              </a:rPr>
              <a:t> 8-12</a:t>
            </a:r>
            <a:endParaRPr sz="1577">
              <a:solidFill>
                <a:prstClr val="black"/>
              </a:solidFill>
              <a:latin typeface="Arial"/>
              <a:cs typeface="Arial"/>
            </a:endParaRPr>
          </a:p>
          <a:p>
            <a:pPr marL="206779" marR="205239" indent="112054" defTabSz="554492">
              <a:lnSpc>
                <a:spcPct val="111600"/>
              </a:lnSpc>
              <a:spcBef>
                <a:spcPts val="55"/>
              </a:spcBef>
            </a:pPr>
            <a:r>
              <a:rPr sz="1182" spc="18" dirty="0">
                <a:solidFill>
                  <a:srgbClr val="6C7775"/>
                </a:solidFill>
                <a:latin typeface="Arial"/>
                <a:cs typeface="Arial"/>
              </a:rPr>
              <a:t>Deliver  C</a:t>
            </a:r>
            <a:r>
              <a:rPr sz="1182" spc="15" dirty="0">
                <a:solidFill>
                  <a:srgbClr val="6C7775"/>
                </a:solidFill>
                <a:latin typeface="Arial"/>
                <a:cs typeface="Arial"/>
              </a:rPr>
              <a:t>a</a:t>
            </a:r>
            <a:r>
              <a:rPr sz="1182" spc="76" dirty="0">
                <a:solidFill>
                  <a:srgbClr val="6C7775"/>
                </a:solidFill>
                <a:latin typeface="Arial"/>
                <a:cs typeface="Arial"/>
              </a:rPr>
              <a:t>p</a:t>
            </a:r>
            <a:r>
              <a:rPr sz="1182" spc="6" dirty="0">
                <a:solidFill>
                  <a:srgbClr val="6C7775"/>
                </a:solidFill>
                <a:latin typeface="Arial"/>
                <a:cs typeface="Arial"/>
              </a:rPr>
              <a:t>a</a:t>
            </a:r>
            <a:r>
              <a:rPr sz="1182" spc="76" dirty="0">
                <a:solidFill>
                  <a:srgbClr val="6C7775"/>
                </a:solidFill>
                <a:latin typeface="Arial"/>
                <a:cs typeface="Arial"/>
              </a:rPr>
              <a:t>b</a:t>
            </a:r>
            <a:r>
              <a:rPr sz="1182" spc="33" dirty="0">
                <a:solidFill>
                  <a:srgbClr val="6C7775"/>
                </a:solidFill>
                <a:latin typeface="Arial"/>
                <a:cs typeface="Arial"/>
              </a:rPr>
              <a:t>ilit</a:t>
            </a:r>
            <a:r>
              <a:rPr sz="1182" spc="6" dirty="0">
                <a:solidFill>
                  <a:srgbClr val="6C7775"/>
                </a:solidFill>
                <a:latin typeface="Arial"/>
                <a:cs typeface="Arial"/>
              </a:rPr>
              <a:t>y</a:t>
            </a:r>
            <a:endParaRPr sz="1182">
              <a:solidFill>
                <a:prstClr val="black"/>
              </a:solidFill>
              <a:latin typeface="Arial"/>
              <a:cs typeface="Arial"/>
            </a:endParaRPr>
          </a:p>
        </p:txBody>
      </p:sp>
      <p:sp>
        <p:nvSpPr>
          <p:cNvPr id="7" name="object 7"/>
          <p:cNvSpPr/>
          <p:nvPr/>
        </p:nvSpPr>
        <p:spPr>
          <a:xfrm>
            <a:off x="7149518" y="2907714"/>
            <a:ext cx="0" cy="931086"/>
          </a:xfrm>
          <a:custGeom>
            <a:avLst/>
            <a:gdLst/>
            <a:ahLst/>
            <a:cxnLst/>
            <a:rect l="l" t="t" r="r" b="b"/>
            <a:pathLst>
              <a:path h="1535429">
                <a:moveTo>
                  <a:pt x="0" y="1535304"/>
                </a:moveTo>
                <a:lnTo>
                  <a:pt x="0" y="0"/>
                </a:lnTo>
              </a:path>
            </a:pathLst>
          </a:custGeom>
          <a:ln w="20941">
            <a:solidFill>
              <a:srgbClr val="FFFFFF"/>
            </a:solidFill>
          </a:ln>
        </p:spPr>
        <p:txBody>
          <a:bodyPr wrap="square" lIns="0" tIns="0" rIns="0" bIns="0" rtlCol="0"/>
          <a:lstStyle/>
          <a:p>
            <a:pPr defTabSz="554492"/>
            <a:endParaRPr sz="1092">
              <a:solidFill>
                <a:prstClr val="black"/>
              </a:solidFill>
            </a:endParaRPr>
          </a:p>
        </p:txBody>
      </p:sp>
      <p:sp>
        <p:nvSpPr>
          <p:cNvPr id="8" name="object 8"/>
          <p:cNvSpPr/>
          <p:nvPr/>
        </p:nvSpPr>
        <p:spPr>
          <a:xfrm>
            <a:off x="7035226" y="3794271"/>
            <a:ext cx="228728" cy="228728"/>
          </a:xfrm>
          <a:custGeom>
            <a:avLst/>
            <a:gdLst/>
            <a:ahLst/>
            <a:cxnLst/>
            <a:rect l="l" t="t" r="r" b="b"/>
            <a:pathLst>
              <a:path w="377190" h="377190">
                <a:moveTo>
                  <a:pt x="188475" y="0"/>
                </a:moveTo>
                <a:lnTo>
                  <a:pt x="138375" y="6732"/>
                </a:lnTo>
                <a:lnTo>
                  <a:pt x="93353" y="25733"/>
                </a:lnTo>
                <a:lnTo>
                  <a:pt x="55207" y="55205"/>
                </a:lnTo>
                <a:lnTo>
                  <a:pt x="25735" y="93352"/>
                </a:lnTo>
                <a:lnTo>
                  <a:pt x="6733" y="138378"/>
                </a:lnTo>
                <a:lnTo>
                  <a:pt x="0" y="188486"/>
                </a:lnTo>
                <a:lnTo>
                  <a:pt x="6733" y="238590"/>
                </a:lnTo>
                <a:lnTo>
                  <a:pt x="25735" y="283613"/>
                </a:lnTo>
                <a:lnTo>
                  <a:pt x="55207" y="321758"/>
                </a:lnTo>
                <a:lnTo>
                  <a:pt x="93353" y="351229"/>
                </a:lnTo>
                <a:lnTo>
                  <a:pt x="138375" y="370229"/>
                </a:lnTo>
                <a:lnTo>
                  <a:pt x="188475" y="376962"/>
                </a:lnTo>
                <a:lnTo>
                  <a:pt x="238576" y="370229"/>
                </a:lnTo>
                <a:lnTo>
                  <a:pt x="283598" y="351229"/>
                </a:lnTo>
                <a:lnTo>
                  <a:pt x="321744" y="321758"/>
                </a:lnTo>
                <a:lnTo>
                  <a:pt x="351216" y="283613"/>
                </a:lnTo>
                <a:lnTo>
                  <a:pt x="370218" y="238590"/>
                </a:lnTo>
                <a:lnTo>
                  <a:pt x="376951" y="188486"/>
                </a:lnTo>
                <a:lnTo>
                  <a:pt x="370218" y="138378"/>
                </a:lnTo>
                <a:lnTo>
                  <a:pt x="351216" y="93352"/>
                </a:lnTo>
                <a:lnTo>
                  <a:pt x="321744" y="55205"/>
                </a:lnTo>
                <a:lnTo>
                  <a:pt x="283598" y="25733"/>
                </a:lnTo>
                <a:lnTo>
                  <a:pt x="238576" y="6732"/>
                </a:lnTo>
                <a:lnTo>
                  <a:pt x="188475"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9" name="object 9"/>
          <p:cNvSpPr/>
          <p:nvPr/>
        </p:nvSpPr>
        <p:spPr>
          <a:xfrm>
            <a:off x="7035226" y="3794271"/>
            <a:ext cx="228728" cy="228728"/>
          </a:xfrm>
          <a:custGeom>
            <a:avLst/>
            <a:gdLst/>
            <a:ahLst/>
            <a:cxnLst/>
            <a:rect l="l" t="t" r="r" b="b"/>
            <a:pathLst>
              <a:path w="377190" h="377190">
                <a:moveTo>
                  <a:pt x="0" y="188476"/>
                </a:moveTo>
                <a:lnTo>
                  <a:pt x="6732" y="138371"/>
                </a:lnTo>
                <a:lnTo>
                  <a:pt x="25732" y="93348"/>
                </a:lnTo>
                <a:lnTo>
                  <a:pt x="55203" y="55203"/>
                </a:lnTo>
                <a:lnTo>
                  <a:pt x="93348" y="25732"/>
                </a:lnTo>
                <a:lnTo>
                  <a:pt x="138371" y="6732"/>
                </a:lnTo>
                <a:lnTo>
                  <a:pt x="188476" y="0"/>
                </a:lnTo>
                <a:lnTo>
                  <a:pt x="238580" y="6732"/>
                </a:lnTo>
                <a:lnTo>
                  <a:pt x="283603" y="25732"/>
                </a:lnTo>
                <a:lnTo>
                  <a:pt x="321749" y="55203"/>
                </a:lnTo>
                <a:lnTo>
                  <a:pt x="351220" y="93348"/>
                </a:lnTo>
                <a:lnTo>
                  <a:pt x="370220" y="138371"/>
                </a:lnTo>
                <a:lnTo>
                  <a:pt x="376952" y="188476"/>
                </a:lnTo>
                <a:lnTo>
                  <a:pt x="370220" y="238580"/>
                </a:lnTo>
                <a:lnTo>
                  <a:pt x="351220" y="283603"/>
                </a:lnTo>
                <a:lnTo>
                  <a:pt x="321749" y="321749"/>
                </a:lnTo>
                <a:lnTo>
                  <a:pt x="283603" y="351220"/>
                </a:lnTo>
                <a:lnTo>
                  <a:pt x="238580" y="370220"/>
                </a:lnTo>
                <a:lnTo>
                  <a:pt x="188476" y="376952"/>
                </a:lnTo>
                <a:lnTo>
                  <a:pt x="138371" y="370220"/>
                </a:lnTo>
                <a:lnTo>
                  <a:pt x="93348" y="351220"/>
                </a:lnTo>
                <a:lnTo>
                  <a:pt x="55203" y="321749"/>
                </a:lnTo>
                <a:lnTo>
                  <a:pt x="25732" y="283603"/>
                </a:lnTo>
                <a:lnTo>
                  <a:pt x="6732" y="238580"/>
                </a:lnTo>
                <a:lnTo>
                  <a:pt x="0" y="188476"/>
                </a:lnTo>
                <a:close/>
              </a:path>
            </a:pathLst>
          </a:custGeom>
          <a:ln w="73296">
            <a:solidFill>
              <a:srgbClr val="FFFFFF"/>
            </a:solidFill>
          </a:ln>
        </p:spPr>
        <p:txBody>
          <a:bodyPr wrap="square" lIns="0" tIns="0" rIns="0" bIns="0" rtlCol="0"/>
          <a:lstStyle/>
          <a:p>
            <a:pPr defTabSz="554492"/>
            <a:endParaRPr sz="1092">
              <a:solidFill>
                <a:prstClr val="black"/>
              </a:solidFill>
            </a:endParaRPr>
          </a:p>
        </p:txBody>
      </p:sp>
      <p:sp>
        <p:nvSpPr>
          <p:cNvPr id="10" name="object 10"/>
          <p:cNvSpPr/>
          <p:nvPr/>
        </p:nvSpPr>
        <p:spPr>
          <a:xfrm>
            <a:off x="6806007" y="2282684"/>
            <a:ext cx="686185" cy="685800"/>
          </a:xfrm>
          <a:custGeom>
            <a:avLst/>
            <a:gdLst/>
            <a:ahLst/>
            <a:cxnLst/>
            <a:rect l="l" t="t" r="r" b="b"/>
            <a:pathLst>
              <a:path w="1131570" h="1130935">
                <a:moveTo>
                  <a:pt x="565532" y="0"/>
                </a:moveTo>
                <a:lnTo>
                  <a:pt x="516734" y="2075"/>
                </a:lnTo>
                <a:lnTo>
                  <a:pt x="469089" y="8188"/>
                </a:lnTo>
                <a:lnTo>
                  <a:pt x="422767" y="18170"/>
                </a:lnTo>
                <a:lnTo>
                  <a:pt x="377937" y="31849"/>
                </a:lnTo>
                <a:lnTo>
                  <a:pt x="334770" y="49058"/>
                </a:lnTo>
                <a:lnTo>
                  <a:pt x="293434" y="69625"/>
                </a:lnTo>
                <a:lnTo>
                  <a:pt x="254100" y="93381"/>
                </a:lnTo>
                <a:lnTo>
                  <a:pt x="216937" y="120157"/>
                </a:lnTo>
                <a:lnTo>
                  <a:pt x="182116" y="149783"/>
                </a:lnTo>
                <a:lnTo>
                  <a:pt x="149805" y="182088"/>
                </a:lnTo>
                <a:lnTo>
                  <a:pt x="120175" y="216904"/>
                </a:lnTo>
                <a:lnTo>
                  <a:pt x="93395" y="254060"/>
                </a:lnTo>
                <a:lnTo>
                  <a:pt x="69635" y="293386"/>
                </a:lnTo>
                <a:lnTo>
                  <a:pt x="49065" y="334714"/>
                </a:lnTo>
                <a:lnTo>
                  <a:pt x="31854" y="377873"/>
                </a:lnTo>
                <a:lnTo>
                  <a:pt x="18172" y="422694"/>
                </a:lnTo>
                <a:lnTo>
                  <a:pt x="8189" y="469006"/>
                </a:lnTo>
                <a:lnTo>
                  <a:pt x="2075" y="516641"/>
                </a:lnTo>
                <a:lnTo>
                  <a:pt x="0" y="565427"/>
                </a:lnTo>
                <a:lnTo>
                  <a:pt x="2075" y="614214"/>
                </a:lnTo>
                <a:lnTo>
                  <a:pt x="8189" y="661848"/>
                </a:lnTo>
                <a:lnTo>
                  <a:pt x="18172" y="708161"/>
                </a:lnTo>
                <a:lnTo>
                  <a:pt x="31854" y="752981"/>
                </a:lnTo>
                <a:lnTo>
                  <a:pt x="49065" y="796140"/>
                </a:lnTo>
                <a:lnTo>
                  <a:pt x="69635" y="837468"/>
                </a:lnTo>
                <a:lnTo>
                  <a:pt x="93395" y="876795"/>
                </a:lnTo>
                <a:lnTo>
                  <a:pt x="120175" y="913951"/>
                </a:lnTo>
                <a:lnTo>
                  <a:pt x="149805" y="948767"/>
                </a:lnTo>
                <a:lnTo>
                  <a:pt x="182116" y="981072"/>
                </a:lnTo>
                <a:lnTo>
                  <a:pt x="216937" y="1010697"/>
                </a:lnTo>
                <a:lnTo>
                  <a:pt x="254100" y="1037473"/>
                </a:lnTo>
                <a:lnTo>
                  <a:pt x="293434" y="1061230"/>
                </a:lnTo>
                <a:lnTo>
                  <a:pt x="334770" y="1081797"/>
                </a:lnTo>
                <a:lnTo>
                  <a:pt x="377937" y="1099005"/>
                </a:lnTo>
                <a:lnTo>
                  <a:pt x="422767" y="1112685"/>
                </a:lnTo>
                <a:lnTo>
                  <a:pt x="469089" y="1122666"/>
                </a:lnTo>
                <a:lnTo>
                  <a:pt x="516734" y="1128780"/>
                </a:lnTo>
                <a:lnTo>
                  <a:pt x="565532" y="1130855"/>
                </a:lnTo>
                <a:lnTo>
                  <a:pt x="614314" y="1128780"/>
                </a:lnTo>
                <a:lnTo>
                  <a:pt x="661945" y="1122666"/>
                </a:lnTo>
                <a:lnTo>
                  <a:pt x="708255" y="1112685"/>
                </a:lnTo>
                <a:lnTo>
                  <a:pt x="753074" y="1099005"/>
                </a:lnTo>
                <a:lnTo>
                  <a:pt x="796232" y="1081797"/>
                </a:lnTo>
                <a:lnTo>
                  <a:pt x="837559" y="1061230"/>
                </a:lnTo>
                <a:lnTo>
                  <a:pt x="876886" y="1037473"/>
                </a:lnTo>
                <a:lnTo>
                  <a:pt x="914042" y="1010697"/>
                </a:lnTo>
                <a:lnTo>
                  <a:pt x="948859" y="981072"/>
                </a:lnTo>
                <a:lnTo>
                  <a:pt x="981166" y="948767"/>
                </a:lnTo>
                <a:lnTo>
                  <a:pt x="1010792" y="913951"/>
                </a:lnTo>
                <a:lnTo>
                  <a:pt x="1037570" y="876795"/>
                </a:lnTo>
                <a:lnTo>
                  <a:pt x="1061328" y="837468"/>
                </a:lnTo>
                <a:lnTo>
                  <a:pt x="1081897" y="796140"/>
                </a:lnTo>
                <a:lnTo>
                  <a:pt x="1099107" y="752981"/>
                </a:lnTo>
                <a:lnTo>
                  <a:pt x="1112788" y="708161"/>
                </a:lnTo>
                <a:lnTo>
                  <a:pt x="1122770" y="661848"/>
                </a:lnTo>
                <a:lnTo>
                  <a:pt x="1128884" y="614214"/>
                </a:lnTo>
                <a:lnTo>
                  <a:pt x="1130960" y="565427"/>
                </a:lnTo>
                <a:lnTo>
                  <a:pt x="1128884" y="516641"/>
                </a:lnTo>
                <a:lnTo>
                  <a:pt x="1122770" y="469006"/>
                </a:lnTo>
                <a:lnTo>
                  <a:pt x="1112788" y="422694"/>
                </a:lnTo>
                <a:lnTo>
                  <a:pt x="1099107" y="377873"/>
                </a:lnTo>
                <a:lnTo>
                  <a:pt x="1081897" y="334714"/>
                </a:lnTo>
                <a:lnTo>
                  <a:pt x="1061328" y="293386"/>
                </a:lnTo>
                <a:lnTo>
                  <a:pt x="1037570" y="254060"/>
                </a:lnTo>
                <a:lnTo>
                  <a:pt x="1010792" y="216904"/>
                </a:lnTo>
                <a:lnTo>
                  <a:pt x="981166" y="182088"/>
                </a:lnTo>
                <a:lnTo>
                  <a:pt x="948859" y="149783"/>
                </a:lnTo>
                <a:lnTo>
                  <a:pt x="914042" y="120157"/>
                </a:lnTo>
                <a:lnTo>
                  <a:pt x="876886" y="93381"/>
                </a:lnTo>
                <a:lnTo>
                  <a:pt x="837559" y="69625"/>
                </a:lnTo>
                <a:lnTo>
                  <a:pt x="796232" y="49058"/>
                </a:lnTo>
                <a:lnTo>
                  <a:pt x="753074" y="31849"/>
                </a:lnTo>
                <a:lnTo>
                  <a:pt x="708255" y="18170"/>
                </a:lnTo>
                <a:lnTo>
                  <a:pt x="661945" y="8188"/>
                </a:lnTo>
                <a:lnTo>
                  <a:pt x="614314" y="2075"/>
                </a:lnTo>
                <a:lnTo>
                  <a:pt x="565532"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11" name="object 11"/>
          <p:cNvSpPr/>
          <p:nvPr/>
        </p:nvSpPr>
        <p:spPr>
          <a:xfrm>
            <a:off x="6976366" y="2445226"/>
            <a:ext cx="361576" cy="361576"/>
          </a:xfrm>
          <a:custGeom>
            <a:avLst/>
            <a:gdLst/>
            <a:ahLst/>
            <a:cxnLst/>
            <a:rect l="l" t="t" r="r" b="b"/>
            <a:pathLst>
              <a:path w="596265" h="596264">
                <a:moveTo>
                  <a:pt x="351612" y="585929"/>
                </a:moveTo>
                <a:lnTo>
                  <a:pt x="325644" y="585929"/>
                </a:lnTo>
                <a:lnTo>
                  <a:pt x="327319" y="591563"/>
                </a:lnTo>
                <a:lnTo>
                  <a:pt x="332345" y="595720"/>
                </a:lnTo>
                <a:lnTo>
                  <a:pt x="343863" y="595720"/>
                </a:lnTo>
                <a:lnTo>
                  <a:pt x="348471" y="592526"/>
                </a:lnTo>
                <a:lnTo>
                  <a:pt x="350565" y="587971"/>
                </a:lnTo>
                <a:lnTo>
                  <a:pt x="350879" y="587531"/>
                </a:lnTo>
                <a:lnTo>
                  <a:pt x="350984" y="587395"/>
                </a:lnTo>
                <a:lnTo>
                  <a:pt x="351612" y="585929"/>
                </a:lnTo>
                <a:close/>
              </a:path>
              <a:path w="596265" h="596264">
                <a:moveTo>
                  <a:pt x="350683" y="587971"/>
                </a:moveTo>
                <a:close/>
              </a:path>
              <a:path w="596265" h="596264">
                <a:moveTo>
                  <a:pt x="576317" y="1329"/>
                </a:moveTo>
                <a:lnTo>
                  <a:pt x="8376" y="244777"/>
                </a:lnTo>
                <a:lnTo>
                  <a:pt x="8167" y="244830"/>
                </a:lnTo>
                <a:lnTo>
                  <a:pt x="7748" y="245050"/>
                </a:lnTo>
                <a:lnTo>
                  <a:pt x="3245" y="247311"/>
                </a:lnTo>
                <a:lnTo>
                  <a:pt x="0" y="251856"/>
                </a:lnTo>
                <a:lnTo>
                  <a:pt x="0" y="263384"/>
                </a:lnTo>
                <a:lnTo>
                  <a:pt x="4188" y="268379"/>
                </a:lnTo>
                <a:lnTo>
                  <a:pt x="9737" y="270033"/>
                </a:lnTo>
                <a:lnTo>
                  <a:pt x="9737" y="270253"/>
                </a:lnTo>
                <a:lnTo>
                  <a:pt x="233396" y="362344"/>
                </a:lnTo>
                <a:lnTo>
                  <a:pt x="325435" y="586013"/>
                </a:lnTo>
                <a:lnTo>
                  <a:pt x="325644" y="585929"/>
                </a:lnTo>
                <a:lnTo>
                  <a:pt x="351612" y="585929"/>
                </a:lnTo>
                <a:lnTo>
                  <a:pt x="368149" y="547344"/>
                </a:lnTo>
                <a:lnTo>
                  <a:pt x="338733" y="547344"/>
                </a:lnTo>
                <a:lnTo>
                  <a:pt x="259573" y="355287"/>
                </a:lnTo>
                <a:lnTo>
                  <a:pt x="278747" y="336115"/>
                </a:lnTo>
                <a:lnTo>
                  <a:pt x="240411" y="336115"/>
                </a:lnTo>
                <a:lnTo>
                  <a:pt x="48375" y="257049"/>
                </a:lnTo>
                <a:lnTo>
                  <a:pt x="522916" y="53642"/>
                </a:lnTo>
                <a:lnTo>
                  <a:pt x="579739" y="53642"/>
                </a:lnTo>
                <a:lnTo>
                  <a:pt x="594432" y="19360"/>
                </a:lnTo>
                <a:lnTo>
                  <a:pt x="594222" y="19287"/>
                </a:lnTo>
                <a:lnTo>
                  <a:pt x="595060" y="17549"/>
                </a:lnTo>
                <a:lnTo>
                  <a:pt x="595688" y="15643"/>
                </a:lnTo>
                <a:lnTo>
                  <a:pt x="595688" y="6073"/>
                </a:lnTo>
                <a:lnTo>
                  <a:pt x="591050" y="1434"/>
                </a:lnTo>
                <a:lnTo>
                  <a:pt x="576422" y="1434"/>
                </a:lnTo>
                <a:close/>
              </a:path>
              <a:path w="596265" h="596264">
                <a:moveTo>
                  <a:pt x="571522" y="72814"/>
                </a:moveTo>
                <a:lnTo>
                  <a:pt x="542077" y="72814"/>
                </a:lnTo>
                <a:lnTo>
                  <a:pt x="338733" y="547344"/>
                </a:lnTo>
                <a:lnTo>
                  <a:pt x="368149" y="547344"/>
                </a:lnTo>
                <a:lnTo>
                  <a:pt x="571522" y="72814"/>
                </a:lnTo>
                <a:close/>
              </a:path>
              <a:path w="596265" h="596264">
                <a:moveTo>
                  <a:pt x="210569" y="379087"/>
                </a:moveTo>
                <a:lnTo>
                  <a:pt x="199365" y="379087"/>
                </a:lnTo>
                <a:lnTo>
                  <a:pt x="195910" y="380627"/>
                </a:lnTo>
                <a:lnTo>
                  <a:pt x="58113" y="518444"/>
                </a:lnTo>
                <a:lnTo>
                  <a:pt x="55705" y="520926"/>
                </a:lnTo>
                <a:lnTo>
                  <a:pt x="54134" y="524319"/>
                </a:lnTo>
                <a:lnTo>
                  <a:pt x="54134" y="535512"/>
                </a:lnTo>
                <a:lnTo>
                  <a:pt x="60207" y="541554"/>
                </a:lnTo>
                <a:lnTo>
                  <a:pt x="71411" y="541554"/>
                </a:lnTo>
                <a:lnTo>
                  <a:pt x="74866" y="540067"/>
                </a:lnTo>
                <a:lnTo>
                  <a:pt x="77275" y="537617"/>
                </a:lnTo>
                <a:lnTo>
                  <a:pt x="215071" y="399767"/>
                </a:lnTo>
                <a:lnTo>
                  <a:pt x="216642" y="396375"/>
                </a:lnTo>
                <a:lnTo>
                  <a:pt x="216642" y="385181"/>
                </a:lnTo>
                <a:lnTo>
                  <a:pt x="210569" y="379087"/>
                </a:lnTo>
                <a:close/>
              </a:path>
              <a:path w="596265" h="596264">
                <a:moveTo>
                  <a:pt x="224076" y="446792"/>
                </a:moveTo>
                <a:lnTo>
                  <a:pt x="212873" y="446792"/>
                </a:lnTo>
                <a:lnTo>
                  <a:pt x="209522" y="448310"/>
                </a:lnTo>
                <a:lnTo>
                  <a:pt x="207009" y="450761"/>
                </a:lnTo>
                <a:lnTo>
                  <a:pt x="166487" y="491388"/>
                </a:lnTo>
                <a:lnTo>
                  <a:pt x="163974" y="493817"/>
                </a:lnTo>
                <a:lnTo>
                  <a:pt x="162508" y="497241"/>
                </a:lnTo>
                <a:lnTo>
                  <a:pt x="162508" y="508434"/>
                </a:lnTo>
                <a:lnTo>
                  <a:pt x="168581" y="514497"/>
                </a:lnTo>
                <a:lnTo>
                  <a:pt x="179680" y="514497"/>
                </a:lnTo>
                <a:lnTo>
                  <a:pt x="183135" y="512979"/>
                </a:lnTo>
                <a:lnTo>
                  <a:pt x="185544" y="510528"/>
                </a:lnTo>
                <a:lnTo>
                  <a:pt x="226171" y="469901"/>
                </a:lnTo>
                <a:lnTo>
                  <a:pt x="228684" y="467472"/>
                </a:lnTo>
                <a:lnTo>
                  <a:pt x="230150" y="464080"/>
                </a:lnTo>
                <a:lnTo>
                  <a:pt x="230150" y="452855"/>
                </a:lnTo>
                <a:lnTo>
                  <a:pt x="224076" y="446792"/>
                </a:lnTo>
                <a:close/>
              </a:path>
              <a:path w="596265" h="596264">
                <a:moveTo>
                  <a:pt x="142822" y="365570"/>
                </a:moveTo>
                <a:lnTo>
                  <a:pt x="131619" y="365570"/>
                </a:lnTo>
                <a:lnTo>
                  <a:pt x="128268" y="367088"/>
                </a:lnTo>
                <a:lnTo>
                  <a:pt x="125860" y="369517"/>
                </a:lnTo>
                <a:lnTo>
                  <a:pt x="112247" y="383056"/>
                </a:lnTo>
                <a:lnTo>
                  <a:pt x="109839" y="385537"/>
                </a:lnTo>
                <a:lnTo>
                  <a:pt x="108371" y="388679"/>
                </a:lnTo>
                <a:lnTo>
                  <a:pt x="108268" y="400103"/>
                </a:lnTo>
                <a:lnTo>
                  <a:pt x="114342" y="406165"/>
                </a:lnTo>
                <a:lnTo>
                  <a:pt x="125545" y="406165"/>
                </a:lnTo>
                <a:lnTo>
                  <a:pt x="129001" y="404678"/>
                </a:lnTo>
                <a:lnTo>
                  <a:pt x="131409" y="402197"/>
                </a:lnTo>
                <a:lnTo>
                  <a:pt x="144917" y="388679"/>
                </a:lnTo>
                <a:lnTo>
                  <a:pt x="147430" y="386229"/>
                </a:lnTo>
                <a:lnTo>
                  <a:pt x="148800" y="383056"/>
                </a:lnTo>
                <a:lnTo>
                  <a:pt x="148895" y="371643"/>
                </a:lnTo>
                <a:lnTo>
                  <a:pt x="142822" y="365570"/>
                </a:lnTo>
                <a:close/>
              </a:path>
              <a:path w="596265" h="596264">
                <a:moveTo>
                  <a:pt x="579739" y="53642"/>
                </a:moveTo>
                <a:lnTo>
                  <a:pt x="522916" y="53642"/>
                </a:lnTo>
                <a:lnTo>
                  <a:pt x="240411" y="336115"/>
                </a:lnTo>
                <a:lnTo>
                  <a:pt x="278747" y="336115"/>
                </a:lnTo>
                <a:lnTo>
                  <a:pt x="542077" y="72814"/>
                </a:lnTo>
                <a:lnTo>
                  <a:pt x="571522" y="72814"/>
                </a:lnTo>
                <a:lnTo>
                  <a:pt x="579739" y="53642"/>
                </a:lnTo>
                <a:close/>
              </a:path>
              <a:path w="596265" h="596264">
                <a:moveTo>
                  <a:pt x="589615" y="0"/>
                </a:moveTo>
                <a:lnTo>
                  <a:pt x="580087" y="0"/>
                </a:lnTo>
                <a:lnTo>
                  <a:pt x="578202" y="554"/>
                </a:lnTo>
                <a:lnTo>
                  <a:pt x="576422" y="1434"/>
                </a:lnTo>
                <a:lnTo>
                  <a:pt x="591050" y="1434"/>
                </a:lnTo>
                <a:lnTo>
                  <a:pt x="589615" y="0"/>
                </a:lnTo>
                <a:close/>
              </a:path>
            </a:pathLst>
          </a:custGeom>
          <a:solidFill>
            <a:srgbClr val="FFFFFF"/>
          </a:solidFill>
        </p:spPr>
        <p:txBody>
          <a:bodyPr wrap="square" lIns="0" tIns="0" rIns="0" bIns="0" rtlCol="0"/>
          <a:lstStyle/>
          <a:p>
            <a:pPr defTabSz="554492"/>
            <a:endParaRPr sz="1092">
              <a:solidFill>
                <a:prstClr val="black"/>
              </a:solidFill>
            </a:endParaRPr>
          </a:p>
        </p:txBody>
      </p:sp>
      <p:sp>
        <p:nvSpPr>
          <p:cNvPr id="12" name="object 12"/>
          <p:cNvSpPr/>
          <p:nvPr/>
        </p:nvSpPr>
        <p:spPr>
          <a:xfrm>
            <a:off x="7133791" y="2489378"/>
            <a:ext cx="171354" cy="288028"/>
          </a:xfrm>
          <a:custGeom>
            <a:avLst/>
            <a:gdLst/>
            <a:ahLst/>
            <a:cxnLst/>
            <a:rect l="l" t="t" r="r" b="b"/>
            <a:pathLst>
              <a:path w="282575" h="474979">
                <a:moveTo>
                  <a:pt x="79098" y="474533"/>
                </a:moveTo>
                <a:lnTo>
                  <a:pt x="0" y="282469"/>
                </a:lnTo>
                <a:lnTo>
                  <a:pt x="282470" y="0"/>
                </a:lnTo>
                <a:lnTo>
                  <a:pt x="164895" y="274339"/>
                </a:lnTo>
                <a:lnTo>
                  <a:pt x="104519" y="415217"/>
                </a:lnTo>
                <a:lnTo>
                  <a:pt x="82275" y="467119"/>
                </a:lnTo>
                <a:lnTo>
                  <a:pt x="79098" y="474533"/>
                </a:lnTo>
                <a:close/>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3" name="object 13"/>
          <p:cNvSpPr/>
          <p:nvPr/>
        </p:nvSpPr>
        <p:spPr>
          <a:xfrm>
            <a:off x="7005717" y="2477755"/>
            <a:ext cx="288028" cy="171354"/>
          </a:xfrm>
          <a:custGeom>
            <a:avLst/>
            <a:gdLst/>
            <a:ahLst/>
            <a:cxnLst/>
            <a:rect l="l" t="t" r="r" b="b"/>
            <a:pathLst>
              <a:path w="474979" h="282575">
                <a:moveTo>
                  <a:pt x="0" y="203399"/>
                </a:moveTo>
                <a:lnTo>
                  <a:pt x="474506" y="0"/>
                </a:lnTo>
                <a:lnTo>
                  <a:pt x="192063" y="282470"/>
                </a:lnTo>
                <a:lnTo>
                  <a:pt x="81026" y="236757"/>
                </a:lnTo>
                <a:lnTo>
                  <a:pt x="24007" y="213282"/>
                </a:lnTo>
                <a:lnTo>
                  <a:pt x="3000" y="204634"/>
                </a:lnTo>
                <a:lnTo>
                  <a:pt x="0" y="203399"/>
                </a:lnTo>
                <a:close/>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4" name="object 14"/>
          <p:cNvSpPr/>
          <p:nvPr/>
        </p:nvSpPr>
        <p:spPr>
          <a:xfrm>
            <a:off x="6976366" y="2445226"/>
            <a:ext cx="361576" cy="361576"/>
          </a:xfrm>
          <a:custGeom>
            <a:avLst/>
            <a:gdLst/>
            <a:ahLst/>
            <a:cxnLst/>
            <a:rect l="l" t="t" r="r" b="b"/>
            <a:pathLst>
              <a:path w="596265" h="596264">
                <a:moveTo>
                  <a:pt x="595718" y="13541"/>
                </a:moveTo>
                <a:lnTo>
                  <a:pt x="595718" y="6067"/>
                </a:lnTo>
                <a:lnTo>
                  <a:pt x="589651" y="0"/>
                </a:lnTo>
                <a:lnTo>
                  <a:pt x="582177" y="0"/>
                </a:lnTo>
                <a:lnTo>
                  <a:pt x="580108" y="0"/>
                </a:lnTo>
                <a:lnTo>
                  <a:pt x="578177" y="551"/>
                </a:lnTo>
                <a:lnTo>
                  <a:pt x="576412" y="1434"/>
                </a:lnTo>
                <a:lnTo>
                  <a:pt x="8329" y="244769"/>
                </a:lnTo>
                <a:lnTo>
                  <a:pt x="8191" y="244823"/>
                </a:lnTo>
                <a:lnTo>
                  <a:pt x="7722" y="245044"/>
                </a:lnTo>
                <a:lnTo>
                  <a:pt x="3199" y="247305"/>
                </a:lnTo>
                <a:lnTo>
                  <a:pt x="0" y="251856"/>
                </a:lnTo>
                <a:lnTo>
                  <a:pt x="0" y="257234"/>
                </a:lnTo>
                <a:lnTo>
                  <a:pt x="0" y="263384"/>
                </a:lnTo>
                <a:lnTo>
                  <a:pt x="4164" y="268376"/>
                </a:lnTo>
                <a:lnTo>
                  <a:pt x="9790" y="270031"/>
                </a:lnTo>
                <a:lnTo>
                  <a:pt x="9735" y="270252"/>
                </a:lnTo>
                <a:lnTo>
                  <a:pt x="233378" y="362340"/>
                </a:lnTo>
                <a:lnTo>
                  <a:pt x="325466" y="586010"/>
                </a:lnTo>
                <a:lnTo>
                  <a:pt x="325686" y="585927"/>
                </a:lnTo>
                <a:lnTo>
                  <a:pt x="327341" y="591554"/>
                </a:lnTo>
                <a:lnTo>
                  <a:pt x="332333" y="595718"/>
                </a:lnTo>
                <a:lnTo>
                  <a:pt x="338484" y="595718"/>
                </a:lnTo>
                <a:lnTo>
                  <a:pt x="343862" y="595718"/>
                </a:lnTo>
                <a:lnTo>
                  <a:pt x="348439" y="592519"/>
                </a:lnTo>
                <a:lnTo>
                  <a:pt x="350619" y="587968"/>
                </a:lnTo>
                <a:lnTo>
                  <a:pt x="350894" y="587527"/>
                </a:lnTo>
                <a:lnTo>
                  <a:pt x="350949" y="587389"/>
                </a:lnTo>
                <a:lnTo>
                  <a:pt x="594422" y="19360"/>
                </a:lnTo>
                <a:lnTo>
                  <a:pt x="594256" y="19278"/>
                </a:lnTo>
                <a:lnTo>
                  <a:pt x="595111" y="17540"/>
                </a:lnTo>
                <a:lnTo>
                  <a:pt x="595718" y="15637"/>
                </a:lnTo>
                <a:lnTo>
                  <a:pt x="595718" y="13541"/>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5" name="object 15"/>
          <p:cNvSpPr/>
          <p:nvPr/>
        </p:nvSpPr>
        <p:spPr>
          <a:xfrm>
            <a:off x="7074888" y="2716159"/>
            <a:ext cx="41202" cy="41202"/>
          </a:xfrm>
          <a:custGeom>
            <a:avLst/>
            <a:gdLst/>
            <a:ahLst/>
            <a:cxnLst/>
            <a:rect l="l" t="t" r="r" b="b"/>
            <a:pathLst>
              <a:path w="67945" h="67945">
                <a:moveTo>
                  <a:pt x="54166" y="0"/>
                </a:moveTo>
                <a:lnTo>
                  <a:pt x="50415" y="0"/>
                </a:lnTo>
                <a:lnTo>
                  <a:pt x="47023" y="1517"/>
                </a:lnTo>
                <a:lnTo>
                  <a:pt x="44568" y="3971"/>
                </a:lnTo>
                <a:lnTo>
                  <a:pt x="3971" y="44596"/>
                </a:lnTo>
                <a:lnTo>
                  <a:pt x="1517" y="47023"/>
                </a:lnTo>
                <a:lnTo>
                  <a:pt x="0" y="50443"/>
                </a:lnTo>
                <a:lnTo>
                  <a:pt x="0" y="54166"/>
                </a:lnTo>
                <a:lnTo>
                  <a:pt x="0" y="61640"/>
                </a:lnTo>
                <a:lnTo>
                  <a:pt x="6067" y="67707"/>
                </a:lnTo>
                <a:lnTo>
                  <a:pt x="13541" y="67707"/>
                </a:lnTo>
                <a:lnTo>
                  <a:pt x="17264" y="67707"/>
                </a:lnTo>
                <a:lnTo>
                  <a:pt x="20657" y="66190"/>
                </a:lnTo>
                <a:lnTo>
                  <a:pt x="23111" y="63736"/>
                </a:lnTo>
                <a:lnTo>
                  <a:pt x="63736" y="23111"/>
                </a:lnTo>
                <a:lnTo>
                  <a:pt x="66190" y="20684"/>
                </a:lnTo>
                <a:lnTo>
                  <a:pt x="67680" y="17292"/>
                </a:lnTo>
                <a:lnTo>
                  <a:pt x="67680" y="13542"/>
                </a:lnTo>
                <a:lnTo>
                  <a:pt x="67680" y="6067"/>
                </a:lnTo>
                <a:lnTo>
                  <a:pt x="61640" y="0"/>
                </a:lnTo>
                <a:lnTo>
                  <a:pt x="54166" y="0"/>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6" name="object 16"/>
          <p:cNvSpPr/>
          <p:nvPr/>
        </p:nvSpPr>
        <p:spPr>
          <a:xfrm>
            <a:off x="7009212" y="2675100"/>
            <a:ext cx="98577" cy="98577"/>
          </a:xfrm>
          <a:custGeom>
            <a:avLst/>
            <a:gdLst/>
            <a:ahLst/>
            <a:cxnLst/>
            <a:rect l="l" t="t" r="r" b="b"/>
            <a:pathLst>
              <a:path w="162559" h="162560">
                <a:moveTo>
                  <a:pt x="162471" y="13569"/>
                </a:moveTo>
                <a:lnTo>
                  <a:pt x="162471" y="6095"/>
                </a:lnTo>
                <a:lnTo>
                  <a:pt x="156403" y="0"/>
                </a:lnTo>
                <a:lnTo>
                  <a:pt x="148929" y="0"/>
                </a:lnTo>
                <a:lnTo>
                  <a:pt x="145178" y="0"/>
                </a:lnTo>
                <a:lnTo>
                  <a:pt x="141786" y="1545"/>
                </a:lnTo>
                <a:lnTo>
                  <a:pt x="139359" y="3971"/>
                </a:lnTo>
                <a:lnTo>
                  <a:pt x="3943" y="139360"/>
                </a:lnTo>
                <a:lnTo>
                  <a:pt x="1516" y="141841"/>
                </a:lnTo>
                <a:lnTo>
                  <a:pt x="0" y="145234"/>
                </a:lnTo>
                <a:lnTo>
                  <a:pt x="0" y="148929"/>
                </a:lnTo>
                <a:lnTo>
                  <a:pt x="0" y="156431"/>
                </a:lnTo>
                <a:lnTo>
                  <a:pt x="6067" y="162471"/>
                </a:lnTo>
                <a:lnTo>
                  <a:pt x="13541" y="162471"/>
                </a:lnTo>
                <a:lnTo>
                  <a:pt x="17264" y="162471"/>
                </a:lnTo>
                <a:lnTo>
                  <a:pt x="20657" y="160982"/>
                </a:lnTo>
                <a:lnTo>
                  <a:pt x="23111" y="158527"/>
                </a:lnTo>
                <a:lnTo>
                  <a:pt x="158500" y="23111"/>
                </a:lnTo>
                <a:lnTo>
                  <a:pt x="160954" y="20684"/>
                </a:lnTo>
                <a:lnTo>
                  <a:pt x="162471" y="17292"/>
                </a:lnTo>
                <a:lnTo>
                  <a:pt x="162471" y="13569"/>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7" name="object 17"/>
          <p:cNvSpPr/>
          <p:nvPr/>
        </p:nvSpPr>
        <p:spPr>
          <a:xfrm>
            <a:off x="7042042" y="2666906"/>
            <a:ext cx="24644" cy="24644"/>
          </a:xfrm>
          <a:custGeom>
            <a:avLst/>
            <a:gdLst/>
            <a:ahLst/>
            <a:cxnLst/>
            <a:rect l="l" t="t" r="r" b="b"/>
            <a:pathLst>
              <a:path w="40640" h="40639">
                <a:moveTo>
                  <a:pt x="23110" y="36625"/>
                </a:moveTo>
                <a:lnTo>
                  <a:pt x="36653" y="23111"/>
                </a:lnTo>
                <a:lnTo>
                  <a:pt x="39107" y="20657"/>
                </a:lnTo>
                <a:lnTo>
                  <a:pt x="40624" y="17265"/>
                </a:lnTo>
                <a:lnTo>
                  <a:pt x="40624" y="13514"/>
                </a:lnTo>
                <a:lnTo>
                  <a:pt x="40624" y="6068"/>
                </a:lnTo>
                <a:lnTo>
                  <a:pt x="34557" y="0"/>
                </a:lnTo>
                <a:lnTo>
                  <a:pt x="27082" y="0"/>
                </a:lnTo>
                <a:lnTo>
                  <a:pt x="23359" y="0"/>
                </a:lnTo>
                <a:lnTo>
                  <a:pt x="0" y="23332"/>
                </a:lnTo>
                <a:lnTo>
                  <a:pt x="0" y="27083"/>
                </a:lnTo>
                <a:lnTo>
                  <a:pt x="0" y="34530"/>
                </a:lnTo>
                <a:lnTo>
                  <a:pt x="6067" y="40597"/>
                </a:lnTo>
                <a:lnTo>
                  <a:pt x="13541" y="40597"/>
                </a:lnTo>
                <a:lnTo>
                  <a:pt x="17291" y="40597"/>
                </a:lnTo>
                <a:lnTo>
                  <a:pt x="20656" y="39108"/>
                </a:lnTo>
                <a:lnTo>
                  <a:pt x="23110" y="36625"/>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18" name="object 18"/>
          <p:cNvSpPr/>
          <p:nvPr/>
        </p:nvSpPr>
        <p:spPr>
          <a:xfrm>
            <a:off x="9266904" y="2684094"/>
            <a:ext cx="0" cy="911448"/>
          </a:xfrm>
          <a:custGeom>
            <a:avLst/>
            <a:gdLst/>
            <a:ahLst/>
            <a:cxnLst/>
            <a:rect l="l" t="t" r="r" b="b"/>
            <a:pathLst>
              <a:path h="1503045">
                <a:moveTo>
                  <a:pt x="0" y="1502523"/>
                </a:moveTo>
                <a:lnTo>
                  <a:pt x="0" y="0"/>
                </a:lnTo>
              </a:path>
            </a:pathLst>
          </a:custGeom>
          <a:ln w="20941">
            <a:solidFill>
              <a:srgbClr val="FFFFFF"/>
            </a:solidFill>
          </a:ln>
        </p:spPr>
        <p:txBody>
          <a:bodyPr wrap="square" lIns="0" tIns="0" rIns="0" bIns="0" rtlCol="0"/>
          <a:lstStyle/>
          <a:p>
            <a:pPr defTabSz="554492"/>
            <a:endParaRPr sz="1092">
              <a:solidFill>
                <a:prstClr val="black"/>
              </a:solidFill>
            </a:endParaRPr>
          </a:p>
        </p:txBody>
      </p:sp>
      <p:sp>
        <p:nvSpPr>
          <p:cNvPr id="19" name="object 19"/>
          <p:cNvSpPr/>
          <p:nvPr/>
        </p:nvSpPr>
        <p:spPr>
          <a:xfrm>
            <a:off x="8900217" y="2026873"/>
            <a:ext cx="685800" cy="685800"/>
          </a:xfrm>
          <a:custGeom>
            <a:avLst/>
            <a:gdLst/>
            <a:ahLst/>
            <a:cxnLst/>
            <a:rect l="l" t="t" r="r" b="b"/>
            <a:pathLst>
              <a:path w="1130934" h="1130935">
                <a:moveTo>
                  <a:pt x="565427" y="0"/>
                </a:moveTo>
                <a:lnTo>
                  <a:pt x="516645" y="2075"/>
                </a:lnTo>
                <a:lnTo>
                  <a:pt x="469014" y="8188"/>
                </a:lnTo>
                <a:lnTo>
                  <a:pt x="422704" y="18170"/>
                </a:lnTo>
                <a:lnTo>
                  <a:pt x="377886" y="31849"/>
                </a:lnTo>
                <a:lnTo>
                  <a:pt x="334728" y="49058"/>
                </a:lnTo>
                <a:lnTo>
                  <a:pt x="293400" y="69625"/>
                </a:lnTo>
                <a:lnTo>
                  <a:pt x="254074" y="93381"/>
                </a:lnTo>
                <a:lnTo>
                  <a:pt x="216917" y="120157"/>
                </a:lnTo>
                <a:lnTo>
                  <a:pt x="182100" y="149783"/>
                </a:lnTo>
                <a:lnTo>
                  <a:pt x="149794" y="182088"/>
                </a:lnTo>
                <a:lnTo>
                  <a:pt x="120167" y="216904"/>
                </a:lnTo>
                <a:lnTo>
                  <a:pt x="93389" y="254060"/>
                </a:lnTo>
                <a:lnTo>
                  <a:pt x="69631" y="293386"/>
                </a:lnTo>
                <a:lnTo>
                  <a:pt x="49063" y="334714"/>
                </a:lnTo>
                <a:lnTo>
                  <a:pt x="31853" y="377873"/>
                </a:lnTo>
                <a:lnTo>
                  <a:pt x="18172" y="422694"/>
                </a:lnTo>
                <a:lnTo>
                  <a:pt x="8189" y="469006"/>
                </a:lnTo>
                <a:lnTo>
                  <a:pt x="2075" y="516641"/>
                </a:lnTo>
                <a:lnTo>
                  <a:pt x="0" y="565427"/>
                </a:lnTo>
                <a:lnTo>
                  <a:pt x="2075" y="614216"/>
                </a:lnTo>
                <a:lnTo>
                  <a:pt x="8189" y="661851"/>
                </a:lnTo>
                <a:lnTo>
                  <a:pt x="18172" y="708164"/>
                </a:lnTo>
                <a:lnTo>
                  <a:pt x="31853" y="752985"/>
                </a:lnTo>
                <a:lnTo>
                  <a:pt x="49063" y="796145"/>
                </a:lnTo>
                <a:lnTo>
                  <a:pt x="69631" y="837473"/>
                </a:lnTo>
                <a:lnTo>
                  <a:pt x="93389" y="876800"/>
                </a:lnTo>
                <a:lnTo>
                  <a:pt x="120167" y="913955"/>
                </a:lnTo>
                <a:lnTo>
                  <a:pt x="149794" y="948771"/>
                </a:lnTo>
                <a:lnTo>
                  <a:pt x="182100" y="981076"/>
                </a:lnTo>
                <a:lnTo>
                  <a:pt x="216917" y="1010701"/>
                </a:lnTo>
                <a:lnTo>
                  <a:pt x="254074" y="1037476"/>
                </a:lnTo>
                <a:lnTo>
                  <a:pt x="293400" y="1061232"/>
                </a:lnTo>
                <a:lnTo>
                  <a:pt x="334728" y="1081798"/>
                </a:lnTo>
                <a:lnTo>
                  <a:pt x="377886" y="1099006"/>
                </a:lnTo>
                <a:lnTo>
                  <a:pt x="422704" y="1112686"/>
                </a:lnTo>
                <a:lnTo>
                  <a:pt x="469014" y="1122667"/>
                </a:lnTo>
                <a:lnTo>
                  <a:pt x="516645" y="1128780"/>
                </a:lnTo>
                <a:lnTo>
                  <a:pt x="565427" y="1130855"/>
                </a:lnTo>
                <a:lnTo>
                  <a:pt x="614210" y="1128780"/>
                </a:lnTo>
                <a:lnTo>
                  <a:pt x="661840" y="1122667"/>
                </a:lnTo>
                <a:lnTo>
                  <a:pt x="708150" y="1112686"/>
                </a:lnTo>
                <a:lnTo>
                  <a:pt x="752969" y="1099006"/>
                </a:lnTo>
                <a:lnTo>
                  <a:pt x="796127" y="1081798"/>
                </a:lnTo>
                <a:lnTo>
                  <a:pt x="837454" y="1061232"/>
                </a:lnTo>
                <a:lnTo>
                  <a:pt x="876781" y="1037476"/>
                </a:lnTo>
                <a:lnTo>
                  <a:pt x="913938" y="1010701"/>
                </a:lnTo>
                <a:lnTo>
                  <a:pt x="948754" y="981076"/>
                </a:lnTo>
                <a:lnTo>
                  <a:pt x="981061" y="948771"/>
                </a:lnTo>
                <a:lnTo>
                  <a:pt x="1010688" y="913955"/>
                </a:lnTo>
                <a:lnTo>
                  <a:pt x="1037465" y="876800"/>
                </a:lnTo>
                <a:lnTo>
                  <a:pt x="1061223" y="837473"/>
                </a:lnTo>
                <a:lnTo>
                  <a:pt x="1081792" y="796145"/>
                </a:lnTo>
                <a:lnTo>
                  <a:pt x="1099002" y="752985"/>
                </a:lnTo>
                <a:lnTo>
                  <a:pt x="1112683" y="708164"/>
                </a:lnTo>
                <a:lnTo>
                  <a:pt x="1122665" y="661851"/>
                </a:lnTo>
                <a:lnTo>
                  <a:pt x="1128779" y="614216"/>
                </a:lnTo>
                <a:lnTo>
                  <a:pt x="1130855" y="565427"/>
                </a:lnTo>
                <a:lnTo>
                  <a:pt x="1128779" y="516641"/>
                </a:lnTo>
                <a:lnTo>
                  <a:pt x="1122665" y="469006"/>
                </a:lnTo>
                <a:lnTo>
                  <a:pt x="1112683" y="422694"/>
                </a:lnTo>
                <a:lnTo>
                  <a:pt x="1099002" y="377873"/>
                </a:lnTo>
                <a:lnTo>
                  <a:pt x="1081792" y="334714"/>
                </a:lnTo>
                <a:lnTo>
                  <a:pt x="1061223" y="293386"/>
                </a:lnTo>
                <a:lnTo>
                  <a:pt x="1037465" y="254060"/>
                </a:lnTo>
                <a:lnTo>
                  <a:pt x="1010688" y="216904"/>
                </a:lnTo>
                <a:lnTo>
                  <a:pt x="981061" y="182088"/>
                </a:lnTo>
                <a:lnTo>
                  <a:pt x="948754" y="149783"/>
                </a:lnTo>
                <a:lnTo>
                  <a:pt x="913938" y="120157"/>
                </a:lnTo>
                <a:lnTo>
                  <a:pt x="876781" y="93381"/>
                </a:lnTo>
                <a:lnTo>
                  <a:pt x="837454" y="69625"/>
                </a:lnTo>
                <a:lnTo>
                  <a:pt x="796127" y="49058"/>
                </a:lnTo>
                <a:lnTo>
                  <a:pt x="752969" y="31849"/>
                </a:lnTo>
                <a:lnTo>
                  <a:pt x="708150" y="18170"/>
                </a:lnTo>
                <a:lnTo>
                  <a:pt x="661840" y="8188"/>
                </a:lnTo>
                <a:lnTo>
                  <a:pt x="614210" y="2075"/>
                </a:lnTo>
                <a:lnTo>
                  <a:pt x="565427"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20" name="object 20"/>
          <p:cNvSpPr/>
          <p:nvPr/>
        </p:nvSpPr>
        <p:spPr>
          <a:xfrm>
            <a:off x="9043971" y="2196869"/>
            <a:ext cx="376978" cy="342707"/>
          </a:xfrm>
          <a:custGeom>
            <a:avLst/>
            <a:gdLst/>
            <a:ahLst/>
            <a:cxnLst/>
            <a:rect l="l" t="t" r="r" b="b"/>
            <a:pathLst>
              <a:path w="621665" h="565150">
                <a:moveTo>
                  <a:pt x="494435" y="211888"/>
                </a:moveTo>
                <a:lnTo>
                  <a:pt x="470088" y="216186"/>
                </a:lnTo>
                <a:lnTo>
                  <a:pt x="449423" y="228058"/>
                </a:lnTo>
                <a:lnTo>
                  <a:pt x="433960" y="245973"/>
                </a:lnTo>
                <a:lnTo>
                  <a:pt x="425222" y="268400"/>
                </a:lnTo>
                <a:lnTo>
                  <a:pt x="6282" y="268400"/>
                </a:lnTo>
                <a:lnTo>
                  <a:pt x="0" y="274724"/>
                </a:lnTo>
                <a:lnTo>
                  <a:pt x="0" y="290315"/>
                </a:lnTo>
                <a:lnTo>
                  <a:pt x="6282" y="296650"/>
                </a:lnTo>
                <a:lnTo>
                  <a:pt x="425222" y="296650"/>
                </a:lnTo>
                <a:lnTo>
                  <a:pt x="433960" y="319075"/>
                </a:lnTo>
                <a:lnTo>
                  <a:pt x="449423" y="336987"/>
                </a:lnTo>
                <a:lnTo>
                  <a:pt x="470088" y="348855"/>
                </a:lnTo>
                <a:lnTo>
                  <a:pt x="494435" y="353151"/>
                </a:lnTo>
                <a:lnTo>
                  <a:pt x="518722" y="348855"/>
                </a:lnTo>
                <a:lnTo>
                  <a:pt x="539368" y="336987"/>
                </a:lnTo>
                <a:lnTo>
                  <a:pt x="549815" y="324901"/>
                </a:lnTo>
                <a:lnTo>
                  <a:pt x="494435" y="324901"/>
                </a:lnTo>
                <a:lnTo>
                  <a:pt x="477914" y="321567"/>
                </a:lnTo>
                <a:lnTo>
                  <a:pt x="464436" y="312481"/>
                </a:lnTo>
                <a:lnTo>
                  <a:pt x="455355" y="299010"/>
                </a:lnTo>
                <a:lnTo>
                  <a:pt x="452028" y="282525"/>
                </a:lnTo>
                <a:lnTo>
                  <a:pt x="455355" y="266035"/>
                </a:lnTo>
                <a:lnTo>
                  <a:pt x="464436" y="252565"/>
                </a:lnTo>
                <a:lnTo>
                  <a:pt x="477914" y="243481"/>
                </a:lnTo>
                <a:lnTo>
                  <a:pt x="494435" y="240149"/>
                </a:lnTo>
                <a:lnTo>
                  <a:pt x="549817" y="240149"/>
                </a:lnTo>
                <a:lnTo>
                  <a:pt x="539368" y="228058"/>
                </a:lnTo>
                <a:lnTo>
                  <a:pt x="518722" y="216186"/>
                </a:lnTo>
                <a:lnTo>
                  <a:pt x="494435" y="211888"/>
                </a:lnTo>
                <a:close/>
              </a:path>
              <a:path w="621665" h="565150">
                <a:moveTo>
                  <a:pt x="549817" y="240149"/>
                </a:moveTo>
                <a:lnTo>
                  <a:pt x="494435" y="240149"/>
                </a:lnTo>
                <a:lnTo>
                  <a:pt x="510912" y="243481"/>
                </a:lnTo>
                <a:lnTo>
                  <a:pt x="524395" y="252565"/>
                </a:lnTo>
                <a:lnTo>
                  <a:pt x="533499" y="266035"/>
                </a:lnTo>
                <a:lnTo>
                  <a:pt x="536842" y="282525"/>
                </a:lnTo>
                <a:lnTo>
                  <a:pt x="533499" y="299010"/>
                </a:lnTo>
                <a:lnTo>
                  <a:pt x="524395" y="312481"/>
                </a:lnTo>
                <a:lnTo>
                  <a:pt x="510912" y="321567"/>
                </a:lnTo>
                <a:lnTo>
                  <a:pt x="494435" y="324901"/>
                </a:lnTo>
                <a:lnTo>
                  <a:pt x="549815" y="324901"/>
                </a:lnTo>
                <a:lnTo>
                  <a:pt x="554850" y="319075"/>
                </a:lnTo>
                <a:lnTo>
                  <a:pt x="563647" y="296650"/>
                </a:lnTo>
                <a:lnTo>
                  <a:pt x="615164" y="296650"/>
                </a:lnTo>
                <a:lnTo>
                  <a:pt x="621551" y="290315"/>
                </a:lnTo>
                <a:lnTo>
                  <a:pt x="621551" y="274724"/>
                </a:lnTo>
                <a:lnTo>
                  <a:pt x="615164" y="268400"/>
                </a:lnTo>
                <a:lnTo>
                  <a:pt x="563647" y="268400"/>
                </a:lnTo>
                <a:lnTo>
                  <a:pt x="554850" y="245973"/>
                </a:lnTo>
                <a:lnTo>
                  <a:pt x="549817" y="240149"/>
                </a:lnTo>
                <a:close/>
              </a:path>
              <a:path w="621665" h="565150">
                <a:moveTo>
                  <a:pt x="155387" y="0"/>
                </a:moveTo>
                <a:lnTo>
                  <a:pt x="131100" y="4297"/>
                </a:lnTo>
                <a:lnTo>
                  <a:pt x="110454" y="16169"/>
                </a:lnTo>
                <a:lnTo>
                  <a:pt x="94972" y="34084"/>
                </a:lnTo>
                <a:lnTo>
                  <a:pt x="86175" y="56511"/>
                </a:lnTo>
                <a:lnTo>
                  <a:pt x="6282" y="56511"/>
                </a:lnTo>
                <a:lnTo>
                  <a:pt x="0" y="62835"/>
                </a:lnTo>
                <a:lnTo>
                  <a:pt x="0" y="78458"/>
                </a:lnTo>
                <a:lnTo>
                  <a:pt x="6282" y="84761"/>
                </a:lnTo>
                <a:lnTo>
                  <a:pt x="86175" y="84761"/>
                </a:lnTo>
                <a:lnTo>
                  <a:pt x="94972" y="107186"/>
                </a:lnTo>
                <a:lnTo>
                  <a:pt x="110454" y="125098"/>
                </a:lnTo>
                <a:lnTo>
                  <a:pt x="131100" y="136966"/>
                </a:lnTo>
                <a:lnTo>
                  <a:pt x="155387" y="141262"/>
                </a:lnTo>
                <a:lnTo>
                  <a:pt x="179690" y="136966"/>
                </a:lnTo>
                <a:lnTo>
                  <a:pt x="200360" y="125098"/>
                </a:lnTo>
                <a:lnTo>
                  <a:pt x="210810" y="113012"/>
                </a:lnTo>
                <a:lnTo>
                  <a:pt x="155387" y="113012"/>
                </a:lnTo>
                <a:lnTo>
                  <a:pt x="138866" y="109683"/>
                </a:lnTo>
                <a:lnTo>
                  <a:pt x="125388" y="100604"/>
                </a:lnTo>
                <a:lnTo>
                  <a:pt x="116308" y="87135"/>
                </a:lnTo>
                <a:lnTo>
                  <a:pt x="112980" y="70636"/>
                </a:lnTo>
                <a:lnTo>
                  <a:pt x="116308" y="54146"/>
                </a:lnTo>
                <a:lnTo>
                  <a:pt x="125388" y="40676"/>
                </a:lnTo>
                <a:lnTo>
                  <a:pt x="138866" y="31592"/>
                </a:lnTo>
                <a:lnTo>
                  <a:pt x="155387" y="28260"/>
                </a:lnTo>
                <a:lnTo>
                  <a:pt x="210812" y="28260"/>
                </a:lnTo>
                <a:lnTo>
                  <a:pt x="200360" y="16169"/>
                </a:lnTo>
                <a:lnTo>
                  <a:pt x="179690" y="4297"/>
                </a:lnTo>
                <a:lnTo>
                  <a:pt x="155387" y="0"/>
                </a:lnTo>
                <a:close/>
              </a:path>
              <a:path w="621665" h="565150">
                <a:moveTo>
                  <a:pt x="210812" y="28260"/>
                </a:moveTo>
                <a:lnTo>
                  <a:pt x="155387" y="28260"/>
                </a:lnTo>
                <a:lnTo>
                  <a:pt x="171909" y="31592"/>
                </a:lnTo>
                <a:lnTo>
                  <a:pt x="185387" y="40676"/>
                </a:lnTo>
                <a:lnTo>
                  <a:pt x="194467" y="54146"/>
                </a:lnTo>
                <a:lnTo>
                  <a:pt x="197795" y="70636"/>
                </a:lnTo>
                <a:lnTo>
                  <a:pt x="194467" y="87135"/>
                </a:lnTo>
                <a:lnTo>
                  <a:pt x="185387" y="100604"/>
                </a:lnTo>
                <a:lnTo>
                  <a:pt x="171909" y="109683"/>
                </a:lnTo>
                <a:lnTo>
                  <a:pt x="155387" y="113012"/>
                </a:lnTo>
                <a:lnTo>
                  <a:pt x="210810" y="113012"/>
                </a:lnTo>
                <a:lnTo>
                  <a:pt x="215847" y="107186"/>
                </a:lnTo>
                <a:lnTo>
                  <a:pt x="224600" y="84761"/>
                </a:lnTo>
                <a:lnTo>
                  <a:pt x="615164" y="84761"/>
                </a:lnTo>
                <a:lnTo>
                  <a:pt x="621551" y="78458"/>
                </a:lnTo>
                <a:lnTo>
                  <a:pt x="621551" y="62835"/>
                </a:lnTo>
                <a:lnTo>
                  <a:pt x="615164" y="56511"/>
                </a:lnTo>
                <a:lnTo>
                  <a:pt x="224600" y="56511"/>
                </a:lnTo>
                <a:lnTo>
                  <a:pt x="215847" y="34084"/>
                </a:lnTo>
                <a:lnTo>
                  <a:pt x="210812" y="28260"/>
                </a:lnTo>
                <a:close/>
              </a:path>
              <a:path w="621665" h="565150">
                <a:moveTo>
                  <a:pt x="268368" y="423756"/>
                </a:moveTo>
                <a:lnTo>
                  <a:pt x="244081" y="428052"/>
                </a:lnTo>
                <a:lnTo>
                  <a:pt x="223435" y="439921"/>
                </a:lnTo>
                <a:lnTo>
                  <a:pt x="207953" y="457832"/>
                </a:lnTo>
                <a:lnTo>
                  <a:pt x="199156" y="480257"/>
                </a:lnTo>
                <a:lnTo>
                  <a:pt x="6282" y="480257"/>
                </a:lnTo>
                <a:lnTo>
                  <a:pt x="0" y="486592"/>
                </a:lnTo>
                <a:lnTo>
                  <a:pt x="0" y="502215"/>
                </a:lnTo>
                <a:lnTo>
                  <a:pt x="6282" y="508518"/>
                </a:lnTo>
                <a:lnTo>
                  <a:pt x="199156" y="508518"/>
                </a:lnTo>
                <a:lnTo>
                  <a:pt x="207953" y="530955"/>
                </a:lnTo>
                <a:lnTo>
                  <a:pt x="223435" y="548873"/>
                </a:lnTo>
                <a:lnTo>
                  <a:pt x="244081" y="560744"/>
                </a:lnTo>
                <a:lnTo>
                  <a:pt x="268368" y="565040"/>
                </a:lnTo>
                <a:lnTo>
                  <a:pt x="292715" y="560744"/>
                </a:lnTo>
                <a:lnTo>
                  <a:pt x="313380" y="548873"/>
                </a:lnTo>
                <a:lnTo>
                  <a:pt x="323826" y="536768"/>
                </a:lnTo>
                <a:lnTo>
                  <a:pt x="268368" y="536768"/>
                </a:lnTo>
                <a:lnTo>
                  <a:pt x="251908" y="533440"/>
                </a:lnTo>
                <a:lnTo>
                  <a:pt x="238461" y="524359"/>
                </a:lnTo>
                <a:lnTo>
                  <a:pt x="229392" y="510887"/>
                </a:lnTo>
                <a:lnTo>
                  <a:pt x="226066" y="494382"/>
                </a:lnTo>
                <a:lnTo>
                  <a:pt x="229392" y="477897"/>
                </a:lnTo>
                <a:lnTo>
                  <a:pt x="238461" y="464426"/>
                </a:lnTo>
                <a:lnTo>
                  <a:pt x="251908" y="455340"/>
                </a:lnTo>
                <a:lnTo>
                  <a:pt x="268368" y="452007"/>
                </a:lnTo>
                <a:lnTo>
                  <a:pt x="323814" y="452007"/>
                </a:lnTo>
                <a:lnTo>
                  <a:pt x="313380" y="439921"/>
                </a:lnTo>
                <a:lnTo>
                  <a:pt x="292715" y="428052"/>
                </a:lnTo>
                <a:lnTo>
                  <a:pt x="268368" y="423756"/>
                </a:lnTo>
                <a:close/>
              </a:path>
              <a:path w="621665" h="565150">
                <a:moveTo>
                  <a:pt x="323814" y="452007"/>
                </a:moveTo>
                <a:lnTo>
                  <a:pt x="268368" y="452007"/>
                </a:lnTo>
                <a:lnTo>
                  <a:pt x="284889" y="455340"/>
                </a:lnTo>
                <a:lnTo>
                  <a:pt x="298367" y="464426"/>
                </a:lnTo>
                <a:lnTo>
                  <a:pt x="307448" y="477897"/>
                </a:lnTo>
                <a:lnTo>
                  <a:pt x="310775" y="494382"/>
                </a:lnTo>
                <a:lnTo>
                  <a:pt x="307448" y="510887"/>
                </a:lnTo>
                <a:lnTo>
                  <a:pt x="298367" y="524359"/>
                </a:lnTo>
                <a:lnTo>
                  <a:pt x="284889" y="533440"/>
                </a:lnTo>
                <a:lnTo>
                  <a:pt x="268368" y="536768"/>
                </a:lnTo>
                <a:lnTo>
                  <a:pt x="323826" y="536768"/>
                </a:lnTo>
                <a:lnTo>
                  <a:pt x="328843" y="530955"/>
                </a:lnTo>
                <a:lnTo>
                  <a:pt x="337581" y="508518"/>
                </a:lnTo>
                <a:lnTo>
                  <a:pt x="615164" y="508518"/>
                </a:lnTo>
                <a:lnTo>
                  <a:pt x="621551" y="502215"/>
                </a:lnTo>
                <a:lnTo>
                  <a:pt x="621551" y="486592"/>
                </a:lnTo>
                <a:lnTo>
                  <a:pt x="615164" y="480257"/>
                </a:lnTo>
                <a:lnTo>
                  <a:pt x="337581" y="480257"/>
                </a:lnTo>
                <a:lnTo>
                  <a:pt x="328843" y="457832"/>
                </a:lnTo>
                <a:lnTo>
                  <a:pt x="323814" y="452007"/>
                </a:lnTo>
                <a:close/>
              </a:path>
            </a:pathLst>
          </a:custGeom>
          <a:solidFill>
            <a:srgbClr val="FFFFFF"/>
          </a:solidFill>
        </p:spPr>
        <p:txBody>
          <a:bodyPr wrap="square" lIns="0" tIns="0" rIns="0" bIns="0" rtlCol="0"/>
          <a:lstStyle/>
          <a:p>
            <a:pPr defTabSz="554492"/>
            <a:endParaRPr sz="1092">
              <a:solidFill>
                <a:prstClr val="black"/>
              </a:solidFill>
            </a:endParaRPr>
          </a:p>
        </p:txBody>
      </p:sp>
      <p:sp>
        <p:nvSpPr>
          <p:cNvPr id="21" name="object 21"/>
          <p:cNvSpPr/>
          <p:nvPr/>
        </p:nvSpPr>
        <p:spPr>
          <a:xfrm>
            <a:off x="9318072" y="2342491"/>
            <a:ext cx="51599" cy="51599"/>
          </a:xfrm>
          <a:custGeom>
            <a:avLst/>
            <a:gdLst/>
            <a:ahLst/>
            <a:cxnLst/>
            <a:rect l="l" t="t" r="r" b="b"/>
            <a:pathLst>
              <a:path w="85090" h="85089">
                <a:moveTo>
                  <a:pt x="42384" y="84755"/>
                </a:moveTo>
                <a:lnTo>
                  <a:pt x="25880" y="81422"/>
                </a:lnTo>
                <a:lnTo>
                  <a:pt x="12408" y="72336"/>
                </a:lnTo>
                <a:lnTo>
                  <a:pt x="3328" y="58865"/>
                </a:lnTo>
                <a:lnTo>
                  <a:pt x="0" y="42377"/>
                </a:lnTo>
                <a:lnTo>
                  <a:pt x="3328" y="25889"/>
                </a:lnTo>
                <a:lnTo>
                  <a:pt x="12408" y="12418"/>
                </a:lnTo>
                <a:lnTo>
                  <a:pt x="25880" y="3332"/>
                </a:lnTo>
                <a:lnTo>
                  <a:pt x="42384" y="0"/>
                </a:lnTo>
                <a:lnTo>
                  <a:pt x="58875" y="3332"/>
                </a:lnTo>
                <a:lnTo>
                  <a:pt x="72348" y="12418"/>
                </a:lnTo>
                <a:lnTo>
                  <a:pt x="81435" y="25889"/>
                </a:lnTo>
                <a:lnTo>
                  <a:pt x="84768" y="42377"/>
                </a:lnTo>
                <a:lnTo>
                  <a:pt x="81435" y="58865"/>
                </a:lnTo>
                <a:lnTo>
                  <a:pt x="72348" y="72336"/>
                </a:lnTo>
                <a:lnTo>
                  <a:pt x="58875" y="81422"/>
                </a:lnTo>
                <a:lnTo>
                  <a:pt x="42384" y="84755"/>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2" name="object 22"/>
          <p:cNvSpPr/>
          <p:nvPr/>
        </p:nvSpPr>
        <p:spPr>
          <a:xfrm>
            <a:off x="9043971" y="2325360"/>
            <a:ext cx="376978" cy="85869"/>
          </a:xfrm>
          <a:custGeom>
            <a:avLst/>
            <a:gdLst/>
            <a:ahLst/>
            <a:cxnLst/>
            <a:rect l="l" t="t" r="r" b="b"/>
            <a:pathLst>
              <a:path w="621665" h="141604">
                <a:moveTo>
                  <a:pt x="607392" y="56504"/>
                </a:moveTo>
                <a:lnTo>
                  <a:pt x="563598" y="56504"/>
                </a:lnTo>
                <a:lnTo>
                  <a:pt x="554833" y="34079"/>
                </a:lnTo>
                <a:lnTo>
                  <a:pt x="539356" y="16166"/>
                </a:lnTo>
                <a:lnTo>
                  <a:pt x="518700" y="4296"/>
                </a:lnTo>
                <a:lnTo>
                  <a:pt x="494396" y="0"/>
                </a:lnTo>
                <a:lnTo>
                  <a:pt x="470081" y="4296"/>
                </a:lnTo>
                <a:lnTo>
                  <a:pt x="449426" y="16166"/>
                </a:lnTo>
                <a:lnTo>
                  <a:pt x="433956" y="34079"/>
                </a:lnTo>
                <a:lnTo>
                  <a:pt x="425194" y="56504"/>
                </a:lnTo>
                <a:lnTo>
                  <a:pt x="14128" y="56504"/>
                </a:lnTo>
                <a:lnTo>
                  <a:pt x="6330" y="56504"/>
                </a:lnTo>
                <a:lnTo>
                  <a:pt x="0" y="62834"/>
                </a:lnTo>
                <a:lnTo>
                  <a:pt x="0" y="70629"/>
                </a:lnTo>
                <a:lnTo>
                  <a:pt x="0" y="78425"/>
                </a:lnTo>
                <a:lnTo>
                  <a:pt x="6330" y="84756"/>
                </a:lnTo>
                <a:lnTo>
                  <a:pt x="14128" y="84756"/>
                </a:lnTo>
                <a:lnTo>
                  <a:pt x="425194" y="84756"/>
                </a:lnTo>
                <a:lnTo>
                  <a:pt x="433956" y="107181"/>
                </a:lnTo>
                <a:lnTo>
                  <a:pt x="449426" y="125094"/>
                </a:lnTo>
                <a:lnTo>
                  <a:pt x="470081" y="136963"/>
                </a:lnTo>
                <a:lnTo>
                  <a:pt x="494396" y="141260"/>
                </a:lnTo>
                <a:lnTo>
                  <a:pt x="518700" y="136963"/>
                </a:lnTo>
                <a:lnTo>
                  <a:pt x="539356" y="125094"/>
                </a:lnTo>
                <a:lnTo>
                  <a:pt x="554833" y="107181"/>
                </a:lnTo>
                <a:lnTo>
                  <a:pt x="563598" y="84756"/>
                </a:lnTo>
                <a:lnTo>
                  <a:pt x="607392" y="84756"/>
                </a:lnTo>
                <a:lnTo>
                  <a:pt x="615190" y="84756"/>
                </a:lnTo>
                <a:lnTo>
                  <a:pt x="621520" y="78425"/>
                </a:lnTo>
                <a:lnTo>
                  <a:pt x="621520" y="70629"/>
                </a:lnTo>
                <a:lnTo>
                  <a:pt x="621520" y="62834"/>
                </a:lnTo>
                <a:lnTo>
                  <a:pt x="615190" y="56504"/>
                </a:lnTo>
                <a:lnTo>
                  <a:pt x="607392" y="56504"/>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3" name="object 23"/>
          <p:cNvSpPr/>
          <p:nvPr/>
        </p:nvSpPr>
        <p:spPr>
          <a:xfrm>
            <a:off x="9112491" y="2214001"/>
            <a:ext cx="51599" cy="51599"/>
          </a:xfrm>
          <a:custGeom>
            <a:avLst/>
            <a:gdLst/>
            <a:ahLst/>
            <a:cxnLst/>
            <a:rect l="l" t="t" r="r" b="b"/>
            <a:pathLst>
              <a:path w="85090" h="85089">
                <a:moveTo>
                  <a:pt x="42384" y="0"/>
                </a:moveTo>
                <a:lnTo>
                  <a:pt x="58888" y="3332"/>
                </a:lnTo>
                <a:lnTo>
                  <a:pt x="72360" y="12419"/>
                </a:lnTo>
                <a:lnTo>
                  <a:pt x="81440" y="25890"/>
                </a:lnTo>
                <a:lnTo>
                  <a:pt x="84768" y="42377"/>
                </a:lnTo>
                <a:lnTo>
                  <a:pt x="81440" y="58876"/>
                </a:lnTo>
                <a:lnTo>
                  <a:pt x="72360" y="72346"/>
                </a:lnTo>
                <a:lnTo>
                  <a:pt x="58888" y="81426"/>
                </a:lnTo>
                <a:lnTo>
                  <a:pt x="42384" y="84756"/>
                </a:lnTo>
                <a:lnTo>
                  <a:pt x="25880" y="81426"/>
                </a:lnTo>
                <a:lnTo>
                  <a:pt x="12408" y="72346"/>
                </a:lnTo>
                <a:lnTo>
                  <a:pt x="3328" y="58876"/>
                </a:lnTo>
                <a:lnTo>
                  <a:pt x="0" y="42377"/>
                </a:lnTo>
                <a:lnTo>
                  <a:pt x="3328" y="25890"/>
                </a:lnTo>
                <a:lnTo>
                  <a:pt x="12408" y="12419"/>
                </a:lnTo>
                <a:lnTo>
                  <a:pt x="25880" y="3332"/>
                </a:lnTo>
                <a:lnTo>
                  <a:pt x="42384" y="0"/>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4" name="object 24"/>
          <p:cNvSpPr/>
          <p:nvPr/>
        </p:nvSpPr>
        <p:spPr>
          <a:xfrm>
            <a:off x="9043971" y="2196870"/>
            <a:ext cx="376978" cy="85869"/>
          </a:xfrm>
          <a:custGeom>
            <a:avLst/>
            <a:gdLst/>
            <a:ahLst/>
            <a:cxnLst/>
            <a:rect l="l" t="t" r="r" b="b"/>
            <a:pathLst>
              <a:path w="621665" h="141604">
                <a:moveTo>
                  <a:pt x="14128" y="84755"/>
                </a:moveTo>
                <a:lnTo>
                  <a:pt x="86178" y="84755"/>
                </a:lnTo>
                <a:lnTo>
                  <a:pt x="94943" y="107181"/>
                </a:lnTo>
                <a:lnTo>
                  <a:pt x="110420" y="125093"/>
                </a:lnTo>
                <a:lnTo>
                  <a:pt x="131077" y="136963"/>
                </a:lnTo>
                <a:lnTo>
                  <a:pt x="155380" y="141259"/>
                </a:lnTo>
                <a:lnTo>
                  <a:pt x="179683" y="136963"/>
                </a:lnTo>
                <a:lnTo>
                  <a:pt x="200339" y="125093"/>
                </a:lnTo>
                <a:lnTo>
                  <a:pt x="215816" y="107181"/>
                </a:lnTo>
                <a:lnTo>
                  <a:pt x="224581" y="84755"/>
                </a:lnTo>
                <a:lnTo>
                  <a:pt x="607392" y="84755"/>
                </a:lnTo>
                <a:lnTo>
                  <a:pt x="615190" y="84755"/>
                </a:lnTo>
                <a:lnTo>
                  <a:pt x="621520" y="78451"/>
                </a:lnTo>
                <a:lnTo>
                  <a:pt x="621520" y="70629"/>
                </a:lnTo>
                <a:lnTo>
                  <a:pt x="621520" y="62834"/>
                </a:lnTo>
                <a:lnTo>
                  <a:pt x="615190" y="56503"/>
                </a:lnTo>
                <a:lnTo>
                  <a:pt x="607392" y="56503"/>
                </a:lnTo>
                <a:lnTo>
                  <a:pt x="224581" y="56503"/>
                </a:lnTo>
                <a:lnTo>
                  <a:pt x="215816" y="34078"/>
                </a:lnTo>
                <a:lnTo>
                  <a:pt x="200339" y="16166"/>
                </a:lnTo>
                <a:lnTo>
                  <a:pt x="179683" y="4296"/>
                </a:lnTo>
                <a:lnTo>
                  <a:pt x="155380" y="0"/>
                </a:lnTo>
                <a:lnTo>
                  <a:pt x="131077" y="4296"/>
                </a:lnTo>
                <a:lnTo>
                  <a:pt x="110420" y="16166"/>
                </a:lnTo>
                <a:lnTo>
                  <a:pt x="94943" y="34078"/>
                </a:lnTo>
                <a:lnTo>
                  <a:pt x="86178" y="56503"/>
                </a:lnTo>
                <a:lnTo>
                  <a:pt x="14128" y="56503"/>
                </a:lnTo>
                <a:lnTo>
                  <a:pt x="6330" y="56503"/>
                </a:lnTo>
                <a:lnTo>
                  <a:pt x="0" y="62834"/>
                </a:lnTo>
                <a:lnTo>
                  <a:pt x="0" y="70629"/>
                </a:lnTo>
                <a:lnTo>
                  <a:pt x="0" y="78451"/>
                </a:lnTo>
                <a:lnTo>
                  <a:pt x="6330" y="84755"/>
                </a:lnTo>
                <a:lnTo>
                  <a:pt x="14128" y="84755"/>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5" name="object 25"/>
          <p:cNvSpPr/>
          <p:nvPr/>
        </p:nvSpPr>
        <p:spPr>
          <a:xfrm>
            <a:off x="9181029" y="2470965"/>
            <a:ext cx="51599" cy="51599"/>
          </a:xfrm>
          <a:custGeom>
            <a:avLst/>
            <a:gdLst/>
            <a:ahLst/>
            <a:cxnLst/>
            <a:rect l="l" t="t" r="r" b="b"/>
            <a:pathLst>
              <a:path w="85090" h="85089">
                <a:moveTo>
                  <a:pt x="42355" y="84756"/>
                </a:moveTo>
                <a:lnTo>
                  <a:pt x="25868" y="81427"/>
                </a:lnTo>
                <a:lnTo>
                  <a:pt x="12405" y="72347"/>
                </a:lnTo>
                <a:lnTo>
                  <a:pt x="3328" y="58877"/>
                </a:lnTo>
                <a:lnTo>
                  <a:pt x="0" y="42378"/>
                </a:lnTo>
                <a:lnTo>
                  <a:pt x="3328" y="25890"/>
                </a:lnTo>
                <a:lnTo>
                  <a:pt x="12405" y="12419"/>
                </a:lnTo>
                <a:lnTo>
                  <a:pt x="25868" y="3332"/>
                </a:lnTo>
                <a:lnTo>
                  <a:pt x="42355" y="0"/>
                </a:lnTo>
                <a:lnTo>
                  <a:pt x="58859" y="3332"/>
                </a:lnTo>
                <a:lnTo>
                  <a:pt x="72331" y="12419"/>
                </a:lnTo>
                <a:lnTo>
                  <a:pt x="81411" y="25890"/>
                </a:lnTo>
                <a:lnTo>
                  <a:pt x="84740" y="42378"/>
                </a:lnTo>
                <a:lnTo>
                  <a:pt x="81411" y="58877"/>
                </a:lnTo>
                <a:lnTo>
                  <a:pt x="72331" y="72347"/>
                </a:lnTo>
                <a:lnTo>
                  <a:pt x="58859" y="81427"/>
                </a:lnTo>
                <a:lnTo>
                  <a:pt x="42355" y="84756"/>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6" name="object 26"/>
          <p:cNvSpPr/>
          <p:nvPr/>
        </p:nvSpPr>
        <p:spPr>
          <a:xfrm>
            <a:off x="9043971" y="2453834"/>
            <a:ext cx="376978" cy="85869"/>
          </a:xfrm>
          <a:custGeom>
            <a:avLst/>
            <a:gdLst/>
            <a:ahLst/>
            <a:cxnLst/>
            <a:rect l="l" t="t" r="r" b="b"/>
            <a:pathLst>
              <a:path w="621665" h="141604">
                <a:moveTo>
                  <a:pt x="607392" y="56504"/>
                </a:moveTo>
                <a:lnTo>
                  <a:pt x="337577" y="56504"/>
                </a:lnTo>
                <a:lnTo>
                  <a:pt x="328816" y="34079"/>
                </a:lnTo>
                <a:lnTo>
                  <a:pt x="313346" y="16166"/>
                </a:lnTo>
                <a:lnTo>
                  <a:pt x="292691" y="4296"/>
                </a:lnTo>
                <a:lnTo>
                  <a:pt x="268376" y="0"/>
                </a:lnTo>
                <a:lnTo>
                  <a:pt x="244077" y="4296"/>
                </a:lnTo>
                <a:lnTo>
                  <a:pt x="223427" y="16166"/>
                </a:lnTo>
                <a:lnTo>
                  <a:pt x="207951" y="34079"/>
                </a:lnTo>
                <a:lnTo>
                  <a:pt x="199174" y="56504"/>
                </a:lnTo>
                <a:lnTo>
                  <a:pt x="14128" y="56504"/>
                </a:lnTo>
                <a:lnTo>
                  <a:pt x="6330" y="56504"/>
                </a:lnTo>
                <a:lnTo>
                  <a:pt x="0" y="62834"/>
                </a:lnTo>
                <a:lnTo>
                  <a:pt x="0" y="70629"/>
                </a:lnTo>
                <a:lnTo>
                  <a:pt x="0" y="78451"/>
                </a:lnTo>
                <a:lnTo>
                  <a:pt x="6330" y="84755"/>
                </a:lnTo>
                <a:lnTo>
                  <a:pt x="14128" y="84755"/>
                </a:lnTo>
                <a:lnTo>
                  <a:pt x="199174" y="84755"/>
                </a:lnTo>
                <a:lnTo>
                  <a:pt x="207951" y="107195"/>
                </a:lnTo>
                <a:lnTo>
                  <a:pt x="223427" y="125116"/>
                </a:lnTo>
                <a:lnTo>
                  <a:pt x="244077" y="136989"/>
                </a:lnTo>
                <a:lnTo>
                  <a:pt x="268376" y="141286"/>
                </a:lnTo>
                <a:lnTo>
                  <a:pt x="292691" y="136989"/>
                </a:lnTo>
                <a:lnTo>
                  <a:pt x="313346" y="125116"/>
                </a:lnTo>
                <a:lnTo>
                  <a:pt x="328816" y="107195"/>
                </a:lnTo>
                <a:lnTo>
                  <a:pt x="337577" y="84755"/>
                </a:lnTo>
                <a:lnTo>
                  <a:pt x="607392" y="84755"/>
                </a:lnTo>
                <a:lnTo>
                  <a:pt x="615190" y="84755"/>
                </a:lnTo>
                <a:lnTo>
                  <a:pt x="621520" y="78451"/>
                </a:lnTo>
                <a:lnTo>
                  <a:pt x="621520" y="70629"/>
                </a:lnTo>
                <a:lnTo>
                  <a:pt x="621520" y="62834"/>
                </a:lnTo>
                <a:lnTo>
                  <a:pt x="615190" y="56504"/>
                </a:lnTo>
                <a:lnTo>
                  <a:pt x="607392" y="56504"/>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27" name="object 27"/>
          <p:cNvSpPr/>
          <p:nvPr/>
        </p:nvSpPr>
        <p:spPr>
          <a:xfrm>
            <a:off x="9151025" y="3549400"/>
            <a:ext cx="228728" cy="228728"/>
          </a:xfrm>
          <a:custGeom>
            <a:avLst/>
            <a:gdLst/>
            <a:ahLst/>
            <a:cxnLst/>
            <a:rect l="l" t="t" r="r" b="b"/>
            <a:pathLst>
              <a:path w="377190" h="377189">
                <a:moveTo>
                  <a:pt x="188475" y="0"/>
                </a:moveTo>
                <a:lnTo>
                  <a:pt x="138375" y="6732"/>
                </a:lnTo>
                <a:lnTo>
                  <a:pt x="93353" y="25732"/>
                </a:lnTo>
                <a:lnTo>
                  <a:pt x="55207" y="55203"/>
                </a:lnTo>
                <a:lnTo>
                  <a:pt x="25735" y="93349"/>
                </a:lnTo>
                <a:lnTo>
                  <a:pt x="6733" y="138372"/>
                </a:lnTo>
                <a:lnTo>
                  <a:pt x="0" y="188475"/>
                </a:lnTo>
                <a:lnTo>
                  <a:pt x="6733" y="238579"/>
                </a:lnTo>
                <a:lnTo>
                  <a:pt x="25735" y="283602"/>
                </a:lnTo>
                <a:lnTo>
                  <a:pt x="55207" y="321748"/>
                </a:lnTo>
                <a:lnTo>
                  <a:pt x="93353" y="351219"/>
                </a:lnTo>
                <a:lnTo>
                  <a:pt x="138375" y="370219"/>
                </a:lnTo>
                <a:lnTo>
                  <a:pt x="188475" y="376951"/>
                </a:lnTo>
                <a:lnTo>
                  <a:pt x="238576" y="370219"/>
                </a:lnTo>
                <a:lnTo>
                  <a:pt x="283598" y="351219"/>
                </a:lnTo>
                <a:lnTo>
                  <a:pt x="321744" y="321748"/>
                </a:lnTo>
                <a:lnTo>
                  <a:pt x="351216" y="283602"/>
                </a:lnTo>
                <a:lnTo>
                  <a:pt x="370218" y="238579"/>
                </a:lnTo>
                <a:lnTo>
                  <a:pt x="376951" y="188475"/>
                </a:lnTo>
                <a:lnTo>
                  <a:pt x="370218" y="138372"/>
                </a:lnTo>
                <a:lnTo>
                  <a:pt x="351216" y="93349"/>
                </a:lnTo>
                <a:lnTo>
                  <a:pt x="321744" y="55203"/>
                </a:lnTo>
                <a:lnTo>
                  <a:pt x="283598" y="25732"/>
                </a:lnTo>
                <a:lnTo>
                  <a:pt x="238576" y="6732"/>
                </a:lnTo>
                <a:lnTo>
                  <a:pt x="188475"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28" name="object 28"/>
          <p:cNvSpPr/>
          <p:nvPr/>
        </p:nvSpPr>
        <p:spPr>
          <a:xfrm>
            <a:off x="9151025" y="3549400"/>
            <a:ext cx="228728" cy="228728"/>
          </a:xfrm>
          <a:custGeom>
            <a:avLst/>
            <a:gdLst/>
            <a:ahLst/>
            <a:cxnLst/>
            <a:rect l="l" t="t" r="r" b="b"/>
            <a:pathLst>
              <a:path w="377190" h="377189">
                <a:moveTo>
                  <a:pt x="0" y="188476"/>
                </a:moveTo>
                <a:lnTo>
                  <a:pt x="6732" y="138371"/>
                </a:lnTo>
                <a:lnTo>
                  <a:pt x="25732" y="93348"/>
                </a:lnTo>
                <a:lnTo>
                  <a:pt x="55203" y="55203"/>
                </a:lnTo>
                <a:lnTo>
                  <a:pt x="93348" y="25732"/>
                </a:lnTo>
                <a:lnTo>
                  <a:pt x="138371" y="6732"/>
                </a:lnTo>
                <a:lnTo>
                  <a:pt x="188476" y="0"/>
                </a:lnTo>
                <a:lnTo>
                  <a:pt x="238580" y="6732"/>
                </a:lnTo>
                <a:lnTo>
                  <a:pt x="283603" y="25732"/>
                </a:lnTo>
                <a:lnTo>
                  <a:pt x="321748" y="55203"/>
                </a:lnTo>
                <a:lnTo>
                  <a:pt x="351219" y="93348"/>
                </a:lnTo>
                <a:lnTo>
                  <a:pt x="370219" y="138371"/>
                </a:lnTo>
                <a:lnTo>
                  <a:pt x="376952" y="188476"/>
                </a:lnTo>
                <a:lnTo>
                  <a:pt x="370219" y="238580"/>
                </a:lnTo>
                <a:lnTo>
                  <a:pt x="351219" y="283603"/>
                </a:lnTo>
                <a:lnTo>
                  <a:pt x="321748" y="321749"/>
                </a:lnTo>
                <a:lnTo>
                  <a:pt x="283603" y="351220"/>
                </a:lnTo>
                <a:lnTo>
                  <a:pt x="238580" y="370220"/>
                </a:lnTo>
                <a:lnTo>
                  <a:pt x="188476" y="376952"/>
                </a:lnTo>
                <a:lnTo>
                  <a:pt x="138371" y="370220"/>
                </a:lnTo>
                <a:lnTo>
                  <a:pt x="93348" y="351220"/>
                </a:lnTo>
                <a:lnTo>
                  <a:pt x="55203" y="321749"/>
                </a:lnTo>
                <a:lnTo>
                  <a:pt x="25732" y="283603"/>
                </a:lnTo>
                <a:lnTo>
                  <a:pt x="6732" y="238580"/>
                </a:lnTo>
                <a:lnTo>
                  <a:pt x="0" y="188476"/>
                </a:lnTo>
                <a:close/>
              </a:path>
            </a:pathLst>
          </a:custGeom>
          <a:ln w="73296">
            <a:solidFill>
              <a:srgbClr val="FFFFFF"/>
            </a:solidFill>
          </a:ln>
        </p:spPr>
        <p:txBody>
          <a:bodyPr wrap="square" lIns="0" tIns="0" rIns="0" bIns="0" rtlCol="0"/>
          <a:lstStyle/>
          <a:p>
            <a:pPr defTabSz="554492"/>
            <a:endParaRPr sz="1092">
              <a:solidFill>
                <a:prstClr val="black"/>
              </a:solidFill>
            </a:endParaRPr>
          </a:p>
        </p:txBody>
      </p:sp>
      <p:sp>
        <p:nvSpPr>
          <p:cNvPr id="29" name="object 29"/>
          <p:cNvSpPr/>
          <p:nvPr/>
        </p:nvSpPr>
        <p:spPr>
          <a:xfrm>
            <a:off x="467183" y="417339"/>
            <a:ext cx="818965" cy="608095"/>
          </a:xfrm>
          <a:prstGeom prst="rect">
            <a:avLst/>
          </a:prstGeom>
          <a:blipFill>
            <a:blip r:embed="rId2" cstate="print"/>
            <a:stretch>
              <a:fillRect/>
            </a:stretch>
          </a:blipFill>
        </p:spPr>
        <p:txBody>
          <a:bodyPr wrap="square" lIns="0" tIns="0" rIns="0" bIns="0" rtlCol="0"/>
          <a:lstStyle/>
          <a:p>
            <a:pPr defTabSz="554492"/>
            <a:endParaRPr sz="1092">
              <a:solidFill>
                <a:prstClr val="black"/>
              </a:solidFill>
            </a:endParaRPr>
          </a:p>
        </p:txBody>
      </p:sp>
      <p:sp>
        <p:nvSpPr>
          <p:cNvPr id="30" name="object 30"/>
          <p:cNvSpPr txBox="1">
            <a:spLocks noGrp="1"/>
          </p:cNvSpPr>
          <p:nvPr>
            <p:ph type="title"/>
          </p:nvPr>
        </p:nvSpPr>
        <p:spPr>
          <a:xfrm>
            <a:off x="276612" y="127115"/>
            <a:ext cx="3008124" cy="620491"/>
          </a:xfrm>
          <a:prstGeom prst="rect">
            <a:avLst/>
          </a:prstGeom>
        </p:spPr>
        <p:txBody>
          <a:bodyPr vert="horz" wrap="square" lIns="0" tIns="0" rIns="0" bIns="0" rtlCol="0">
            <a:spAutoFit/>
          </a:bodyPr>
          <a:lstStyle/>
          <a:p>
            <a:pPr marL="7701"/>
            <a:r>
              <a:rPr sz="2213" b="1" spc="-3" dirty="0">
                <a:solidFill>
                  <a:srgbClr val="231F20"/>
                </a:solidFill>
              </a:rPr>
              <a:t>Blockchain</a:t>
            </a:r>
            <a:r>
              <a:rPr sz="2213" b="1" spc="-12" dirty="0">
                <a:solidFill>
                  <a:srgbClr val="231F20"/>
                </a:solidFill>
              </a:rPr>
              <a:t> </a:t>
            </a:r>
            <a:r>
              <a:rPr sz="2213" b="1" spc="-9" dirty="0">
                <a:solidFill>
                  <a:srgbClr val="231F20"/>
                </a:solidFill>
              </a:rPr>
              <a:t>Innovation</a:t>
            </a:r>
            <a:endParaRPr sz="2213"/>
          </a:p>
          <a:p>
            <a:pPr marL="7701">
              <a:spcBef>
                <a:spcPts val="421"/>
              </a:spcBef>
            </a:pPr>
            <a:r>
              <a:rPr sz="1486" spc="12" dirty="0">
                <a:solidFill>
                  <a:srgbClr val="231F20"/>
                </a:solidFill>
              </a:rPr>
              <a:t>RAPID </a:t>
            </a:r>
            <a:r>
              <a:rPr sz="1486" spc="24" dirty="0">
                <a:solidFill>
                  <a:srgbClr val="231F20"/>
                </a:solidFill>
              </a:rPr>
              <a:t>ENGAGEMENT</a:t>
            </a:r>
            <a:r>
              <a:rPr sz="1486" spc="312" dirty="0">
                <a:solidFill>
                  <a:srgbClr val="231F20"/>
                </a:solidFill>
              </a:rPr>
              <a:t> </a:t>
            </a:r>
            <a:r>
              <a:rPr sz="1486" spc="24" dirty="0">
                <a:solidFill>
                  <a:srgbClr val="231F20"/>
                </a:solidFill>
              </a:rPr>
              <a:t>MODEL</a:t>
            </a:r>
            <a:endParaRPr sz="1486"/>
          </a:p>
        </p:txBody>
      </p:sp>
      <p:sp>
        <p:nvSpPr>
          <p:cNvPr id="31" name="object 31"/>
          <p:cNvSpPr txBox="1"/>
          <p:nvPr/>
        </p:nvSpPr>
        <p:spPr>
          <a:xfrm>
            <a:off x="2294618" y="4528936"/>
            <a:ext cx="1420503" cy="1833387"/>
          </a:xfrm>
          <a:prstGeom prst="rect">
            <a:avLst/>
          </a:prstGeom>
        </p:spPr>
        <p:txBody>
          <a:bodyPr vert="horz" wrap="square" lIns="0" tIns="0" rIns="0" bIns="0" rtlCol="0">
            <a:spAutoFit/>
          </a:bodyPr>
          <a:lstStyle/>
          <a:p>
            <a:pPr marL="7701" marR="260688" defTabSz="554492">
              <a:lnSpc>
                <a:spcPct val="111600"/>
              </a:lnSpc>
            </a:pPr>
            <a:r>
              <a:rPr sz="1182" dirty="0">
                <a:solidFill>
                  <a:srgbClr val="353535"/>
                </a:solidFill>
                <a:latin typeface="Arial"/>
                <a:cs typeface="Arial"/>
              </a:rPr>
              <a:t>Reimagine  </a:t>
            </a:r>
            <a:r>
              <a:rPr sz="1182" spc="9" dirty="0">
                <a:solidFill>
                  <a:srgbClr val="353535"/>
                </a:solidFill>
                <a:latin typeface="Arial"/>
                <a:cs typeface="Arial"/>
              </a:rPr>
              <a:t>business</a:t>
            </a:r>
            <a:r>
              <a:rPr sz="1182" spc="-42" dirty="0">
                <a:solidFill>
                  <a:srgbClr val="353535"/>
                </a:solidFill>
                <a:latin typeface="Arial"/>
                <a:cs typeface="Arial"/>
              </a:rPr>
              <a:t> </a:t>
            </a:r>
            <a:r>
              <a:rPr sz="1182" spc="18" dirty="0">
                <a:solidFill>
                  <a:srgbClr val="353535"/>
                </a:solidFill>
                <a:latin typeface="Arial"/>
                <a:cs typeface="Arial"/>
              </a:rPr>
              <a:t>models</a:t>
            </a:r>
            <a:endParaRPr sz="1182">
              <a:solidFill>
                <a:prstClr val="black"/>
              </a:solidFill>
              <a:latin typeface="Arial"/>
              <a:cs typeface="Arial"/>
            </a:endParaRPr>
          </a:p>
          <a:p>
            <a:pPr marL="7701" marR="27340" defTabSz="554492">
              <a:lnSpc>
                <a:spcPct val="111600"/>
              </a:lnSpc>
            </a:pPr>
            <a:r>
              <a:rPr sz="1182" spc="15" dirty="0">
                <a:solidFill>
                  <a:srgbClr val="353535"/>
                </a:solidFill>
                <a:latin typeface="Arial"/>
                <a:cs typeface="Arial"/>
              </a:rPr>
              <a:t>and new </a:t>
            </a:r>
            <a:r>
              <a:rPr sz="1182" spc="12" dirty="0">
                <a:solidFill>
                  <a:srgbClr val="353535"/>
                </a:solidFill>
                <a:latin typeface="Arial"/>
                <a:cs typeface="Arial"/>
              </a:rPr>
              <a:t>markets</a:t>
            </a:r>
            <a:r>
              <a:rPr sz="1182" spc="-64" dirty="0">
                <a:solidFill>
                  <a:srgbClr val="353535"/>
                </a:solidFill>
                <a:latin typeface="Arial"/>
                <a:cs typeface="Arial"/>
              </a:rPr>
              <a:t> </a:t>
            </a:r>
            <a:r>
              <a:rPr sz="1182" spc="30" dirty="0">
                <a:solidFill>
                  <a:srgbClr val="353535"/>
                </a:solidFill>
                <a:latin typeface="Arial"/>
                <a:cs typeface="Arial"/>
              </a:rPr>
              <a:t>by  </a:t>
            </a:r>
            <a:r>
              <a:rPr sz="1182" spc="15" dirty="0">
                <a:solidFill>
                  <a:srgbClr val="353535"/>
                </a:solidFill>
                <a:latin typeface="Arial"/>
                <a:cs typeface="Arial"/>
              </a:rPr>
              <a:t>collapsing </a:t>
            </a:r>
            <a:r>
              <a:rPr sz="1182" spc="3" dirty="0">
                <a:solidFill>
                  <a:srgbClr val="353535"/>
                </a:solidFill>
                <a:latin typeface="Arial"/>
                <a:cs typeface="Arial"/>
              </a:rPr>
              <a:t>already  </a:t>
            </a:r>
            <a:r>
              <a:rPr sz="1182" spc="15" dirty="0">
                <a:solidFill>
                  <a:srgbClr val="353535"/>
                </a:solidFill>
                <a:latin typeface="Arial"/>
                <a:cs typeface="Arial"/>
              </a:rPr>
              <a:t>digitized </a:t>
            </a:r>
            <a:r>
              <a:rPr sz="1182" spc="12" dirty="0">
                <a:solidFill>
                  <a:srgbClr val="353535"/>
                </a:solidFill>
                <a:latin typeface="Arial"/>
                <a:cs typeface="Arial"/>
              </a:rPr>
              <a:t>processes  </a:t>
            </a:r>
            <a:r>
              <a:rPr sz="1182" spc="18" dirty="0">
                <a:solidFill>
                  <a:srgbClr val="353535"/>
                </a:solidFill>
                <a:latin typeface="Arial"/>
                <a:cs typeface="Arial"/>
              </a:rPr>
              <a:t>through </a:t>
            </a:r>
            <a:r>
              <a:rPr sz="1182" spc="24" dirty="0">
                <a:solidFill>
                  <a:srgbClr val="353535"/>
                </a:solidFill>
                <a:latin typeface="Arial"/>
                <a:cs typeface="Arial"/>
              </a:rPr>
              <a:t>IBM</a:t>
            </a:r>
            <a:r>
              <a:rPr sz="1182" spc="-58" dirty="0">
                <a:solidFill>
                  <a:srgbClr val="353535"/>
                </a:solidFill>
                <a:latin typeface="Arial"/>
                <a:cs typeface="Arial"/>
              </a:rPr>
              <a:t> </a:t>
            </a:r>
            <a:r>
              <a:rPr sz="1182" spc="3" dirty="0">
                <a:solidFill>
                  <a:srgbClr val="353535"/>
                </a:solidFill>
                <a:latin typeface="Arial"/>
                <a:cs typeface="Arial"/>
              </a:rPr>
              <a:t>Design</a:t>
            </a:r>
            <a:endParaRPr sz="1182">
              <a:solidFill>
                <a:prstClr val="black"/>
              </a:solidFill>
              <a:latin typeface="Arial"/>
              <a:cs typeface="Arial"/>
            </a:endParaRPr>
          </a:p>
          <a:p>
            <a:pPr marL="7701" marR="3081" defTabSz="554492">
              <a:lnSpc>
                <a:spcPct val="111600"/>
              </a:lnSpc>
              <a:spcBef>
                <a:spcPts val="15"/>
              </a:spcBef>
            </a:pPr>
            <a:r>
              <a:rPr sz="1182" spc="6" dirty="0">
                <a:solidFill>
                  <a:srgbClr val="353535"/>
                </a:solidFill>
                <a:latin typeface="Arial"/>
                <a:cs typeface="Arial"/>
              </a:rPr>
              <a:t>Thinking </a:t>
            </a:r>
            <a:r>
              <a:rPr sz="1182" spc="18" dirty="0">
                <a:solidFill>
                  <a:srgbClr val="353535"/>
                </a:solidFill>
                <a:latin typeface="Arial"/>
                <a:cs typeface="Arial"/>
              </a:rPr>
              <a:t>Workshop  </a:t>
            </a:r>
            <a:r>
              <a:rPr sz="1182" spc="15" dirty="0">
                <a:solidFill>
                  <a:srgbClr val="353535"/>
                </a:solidFill>
                <a:latin typeface="Arial"/>
                <a:cs typeface="Arial"/>
              </a:rPr>
              <a:t>and identify new  </a:t>
            </a:r>
            <a:r>
              <a:rPr sz="1182" spc="21" dirty="0">
                <a:solidFill>
                  <a:srgbClr val="353535"/>
                </a:solidFill>
                <a:latin typeface="Arial"/>
                <a:cs typeface="Arial"/>
              </a:rPr>
              <a:t>eco-system</a:t>
            </a:r>
            <a:r>
              <a:rPr sz="1182" spc="-42" dirty="0">
                <a:solidFill>
                  <a:srgbClr val="353535"/>
                </a:solidFill>
                <a:latin typeface="Arial"/>
                <a:cs typeface="Arial"/>
              </a:rPr>
              <a:t> </a:t>
            </a:r>
            <a:r>
              <a:rPr sz="1182" spc="12" dirty="0">
                <a:solidFill>
                  <a:srgbClr val="353535"/>
                </a:solidFill>
                <a:latin typeface="Arial"/>
                <a:cs typeface="Arial"/>
              </a:rPr>
              <a:t>partners</a:t>
            </a:r>
            <a:endParaRPr sz="1182">
              <a:solidFill>
                <a:prstClr val="black"/>
              </a:solidFill>
              <a:latin typeface="Arial"/>
              <a:cs typeface="Arial"/>
            </a:endParaRPr>
          </a:p>
        </p:txBody>
      </p:sp>
      <p:sp>
        <p:nvSpPr>
          <p:cNvPr id="32" name="object 32"/>
          <p:cNvSpPr/>
          <p:nvPr/>
        </p:nvSpPr>
        <p:spPr>
          <a:xfrm>
            <a:off x="4248420" y="3947335"/>
            <a:ext cx="1648461" cy="2908393"/>
          </a:xfrm>
          <a:custGeom>
            <a:avLst/>
            <a:gdLst/>
            <a:ahLst/>
            <a:cxnLst/>
            <a:rect l="l" t="t" r="r" b="b"/>
            <a:pathLst>
              <a:path w="2718434" h="4796155">
                <a:moveTo>
                  <a:pt x="2468678" y="0"/>
                </a:moveTo>
                <a:lnTo>
                  <a:pt x="2216504" y="1782"/>
                </a:lnTo>
                <a:lnTo>
                  <a:pt x="1862535" y="9937"/>
                </a:lnTo>
                <a:lnTo>
                  <a:pt x="1264440" y="33812"/>
                </a:lnTo>
                <a:lnTo>
                  <a:pt x="659975" y="53098"/>
                </a:lnTo>
                <a:lnTo>
                  <a:pt x="560518" y="58465"/>
                </a:lnTo>
                <a:lnTo>
                  <a:pt x="460709" y="65536"/>
                </a:lnTo>
                <a:lnTo>
                  <a:pt x="410588" y="69838"/>
                </a:lnTo>
                <a:lnTo>
                  <a:pt x="360279" y="74720"/>
                </a:lnTo>
                <a:lnTo>
                  <a:pt x="309748" y="80231"/>
                </a:lnTo>
                <a:lnTo>
                  <a:pt x="258960" y="86424"/>
                </a:lnTo>
                <a:lnTo>
                  <a:pt x="207882" y="93350"/>
                </a:lnTo>
                <a:lnTo>
                  <a:pt x="156481" y="101058"/>
                </a:lnTo>
                <a:lnTo>
                  <a:pt x="104723" y="109602"/>
                </a:lnTo>
                <a:lnTo>
                  <a:pt x="52573" y="119030"/>
                </a:lnTo>
                <a:lnTo>
                  <a:pt x="0" y="129396"/>
                </a:lnTo>
                <a:lnTo>
                  <a:pt x="352" y="212628"/>
                </a:lnTo>
                <a:lnTo>
                  <a:pt x="1167" y="386269"/>
                </a:lnTo>
                <a:lnTo>
                  <a:pt x="2121" y="568741"/>
                </a:lnTo>
                <a:lnTo>
                  <a:pt x="3484" y="807905"/>
                </a:lnTo>
                <a:lnTo>
                  <a:pt x="5338" y="1108866"/>
                </a:lnTo>
                <a:lnTo>
                  <a:pt x="8103" y="1528950"/>
                </a:lnTo>
                <a:lnTo>
                  <a:pt x="21848" y="3503117"/>
                </a:lnTo>
                <a:lnTo>
                  <a:pt x="24537" y="3918344"/>
                </a:lnTo>
                <a:lnTo>
                  <a:pt x="26316" y="4214503"/>
                </a:lnTo>
                <a:lnTo>
                  <a:pt x="27606" y="4448906"/>
                </a:lnTo>
                <a:lnTo>
                  <a:pt x="28492" y="4627073"/>
                </a:lnTo>
                <a:lnTo>
                  <a:pt x="29234" y="4795967"/>
                </a:lnTo>
                <a:lnTo>
                  <a:pt x="2701320" y="4795967"/>
                </a:lnTo>
                <a:lnTo>
                  <a:pt x="2717990" y="2436"/>
                </a:lnTo>
                <a:lnTo>
                  <a:pt x="2468678"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33" name="object 33"/>
          <p:cNvSpPr txBox="1"/>
          <p:nvPr/>
        </p:nvSpPr>
        <p:spPr>
          <a:xfrm>
            <a:off x="4439217" y="4080622"/>
            <a:ext cx="1304599" cy="2486835"/>
          </a:xfrm>
          <a:prstGeom prst="rect">
            <a:avLst/>
          </a:prstGeom>
        </p:spPr>
        <p:txBody>
          <a:bodyPr vert="horz" wrap="square" lIns="0" tIns="0" rIns="0" bIns="0" rtlCol="0">
            <a:spAutoFit/>
          </a:bodyPr>
          <a:lstStyle/>
          <a:p>
            <a:pPr marL="7701" defTabSz="554492"/>
            <a:r>
              <a:rPr sz="1182" dirty="0">
                <a:solidFill>
                  <a:srgbClr val="353535"/>
                </a:solidFill>
                <a:latin typeface="Arial"/>
                <a:cs typeface="Arial"/>
              </a:rPr>
              <a:t>Create</a:t>
            </a:r>
            <a:endParaRPr sz="1182">
              <a:solidFill>
                <a:prstClr val="black"/>
              </a:solidFill>
              <a:latin typeface="Arial"/>
              <a:cs typeface="Arial"/>
            </a:endParaRPr>
          </a:p>
          <a:p>
            <a:pPr marL="7701" marR="3081" defTabSz="554492">
              <a:lnSpc>
                <a:spcPct val="111600"/>
              </a:lnSpc>
            </a:pPr>
            <a:r>
              <a:rPr sz="1182" spc="12" dirty="0">
                <a:solidFill>
                  <a:srgbClr val="353535"/>
                </a:solidFill>
                <a:latin typeface="Arial"/>
                <a:cs typeface="Arial"/>
              </a:rPr>
              <a:t>the </a:t>
            </a:r>
            <a:r>
              <a:rPr sz="1182" spc="9" dirty="0">
                <a:solidFill>
                  <a:srgbClr val="353535"/>
                </a:solidFill>
                <a:latin typeface="Arial"/>
                <a:cs typeface="Arial"/>
              </a:rPr>
              <a:t>business </a:t>
            </a:r>
            <a:r>
              <a:rPr sz="1182" spc="6" dirty="0">
                <a:solidFill>
                  <a:srgbClr val="353535"/>
                </a:solidFill>
                <a:latin typeface="Arial"/>
                <a:cs typeface="Arial"/>
              </a:rPr>
              <a:t>case  </a:t>
            </a:r>
            <a:r>
              <a:rPr sz="1182" spc="36" dirty="0">
                <a:solidFill>
                  <a:srgbClr val="353535"/>
                </a:solidFill>
                <a:latin typeface="Arial"/>
                <a:cs typeface="Arial"/>
              </a:rPr>
              <a:t>to </a:t>
            </a:r>
            <a:r>
              <a:rPr sz="1182" spc="6" dirty="0">
                <a:solidFill>
                  <a:srgbClr val="353535"/>
                </a:solidFill>
                <a:latin typeface="Arial"/>
                <a:cs typeface="Arial"/>
              </a:rPr>
              <a:t>align </a:t>
            </a:r>
            <a:r>
              <a:rPr sz="1182" spc="27" dirty="0">
                <a:solidFill>
                  <a:srgbClr val="353535"/>
                </a:solidFill>
                <a:latin typeface="Arial"/>
                <a:cs typeface="Arial"/>
              </a:rPr>
              <a:t>with  </a:t>
            </a:r>
            <a:r>
              <a:rPr sz="1182" spc="9" dirty="0">
                <a:solidFill>
                  <a:srgbClr val="353535"/>
                </a:solidFill>
                <a:latin typeface="Arial"/>
                <a:cs typeface="Arial"/>
              </a:rPr>
              <a:t>business </a:t>
            </a:r>
            <a:r>
              <a:rPr sz="1182" spc="-18" dirty="0">
                <a:solidFill>
                  <a:srgbClr val="353535"/>
                </a:solidFill>
                <a:latin typeface="Arial"/>
                <a:cs typeface="Arial"/>
              </a:rPr>
              <a:t>goal(s)  </a:t>
            </a:r>
            <a:r>
              <a:rPr sz="1182" spc="15" dirty="0">
                <a:solidFill>
                  <a:srgbClr val="353535"/>
                </a:solidFill>
                <a:latin typeface="Arial"/>
                <a:cs typeface="Arial"/>
              </a:rPr>
              <a:t>and </a:t>
            </a:r>
            <a:r>
              <a:rPr sz="1182" spc="6" dirty="0">
                <a:solidFill>
                  <a:srgbClr val="353535"/>
                </a:solidFill>
                <a:latin typeface="Arial"/>
                <a:cs typeface="Arial"/>
              </a:rPr>
              <a:t>review </a:t>
            </a:r>
            <a:r>
              <a:rPr sz="1182" spc="15" dirty="0">
                <a:solidFill>
                  <a:srgbClr val="353535"/>
                </a:solidFill>
                <a:latin typeface="Arial"/>
                <a:cs typeface="Arial"/>
              </a:rPr>
              <a:t>target  market </a:t>
            </a:r>
            <a:r>
              <a:rPr sz="1182" spc="69" dirty="0">
                <a:solidFill>
                  <a:srgbClr val="353535"/>
                </a:solidFill>
                <a:latin typeface="Arial"/>
                <a:cs typeface="Arial"/>
              </a:rPr>
              <a:t>/</a:t>
            </a:r>
            <a:r>
              <a:rPr sz="1182" spc="-67" dirty="0">
                <a:solidFill>
                  <a:srgbClr val="353535"/>
                </a:solidFill>
                <a:latin typeface="Arial"/>
                <a:cs typeface="Arial"/>
              </a:rPr>
              <a:t> </a:t>
            </a:r>
            <a:r>
              <a:rPr sz="1182" spc="21" dirty="0">
                <a:solidFill>
                  <a:srgbClr val="353535"/>
                </a:solidFill>
                <a:latin typeface="Arial"/>
                <a:cs typeface="Arial"/>
              </a:rPr>
              <a:t>network</a:t>
            </a:r>
            <a:endParaRPr sz="1182">
              <a:solidFill>
                <a:prstClr val="black"/>
              </a:solidFill>
              <a:latin typeface="Arial"/>
              <a:cs typeface="Arial"/>
            </a:endParaRPr>
          </a:p>
          <a:p>
            <a:pPr marL="7701" marR="3081" defTabSz="554492">
              <a:lnSpc>
                <a:spcPct val="111600"/>
              </a:lnSpc>
              <a:spcBef>
                <a:spcPts val="15"/>
              </a:spcBef>
            </a:pPr>
            <a:r>
              <a:rPr sz="1182" spc="6" dirty="0">
                <a:solidFill>
                  <a:srgbClr val="353535"/>
                </a:solidFill>
                <a:latin typeface="Arial"/>
                <a:cs typeface="Arial"/>
              </a:rPr>
              <a:t>players </a:t>
            </a:r>
            <a:r>
              <a:rPr sz="1182" spc="36" dirty="0">
                <a:solidFill>
                  <a:srgbClr val="353535"/>
                </a:solidFill>
                <a:latin typeface="Arial"/>
                <a:cs typeface="Arial"/>
              </a:rPr>
              <a:t>to</a:t>
            </a:r>
            <a:r>
              <a:rPr sz="1182" spc="-36" dirty="0">
                <a:solidFill>
                  <a:srgbClr val="353535"/>
                </a:solidFill>
                <a:latin typeface="Arial"/>
                <a:cs typeface="Arial"/>
              </a:rPr>
              <a:t> </a:t>
            </a:r>
            <a:r>
              <a:rPr sz="1182" spc="15" dirty="0">
                <a:solidFill>
                  <a:srgbClr val="353535"/>
                </a:solidFill>
                <a:latin typeface="Arial"/>
                <a:cs typeface="Arial"/>
              </a:rPr>
              <a:t>optimize  </a:t>
            </a:r>
            <a:r>
              <a:rPr sz="1182" spc="9" dirty="0">
                <a:solidFill>
                  <a:srgbClr val="353535"/>
                </a:solidFill>
                <a:latin typeface="Arial"/>
                <a:cs typeface="Arial"/>
              </a:rPr>
              <a:t>goals</a:t>
            </a:r>
            <a:endParaRPr sz="1182">
              <a:solidFill>
                <a:prstClr val="black"/>
              </a:solidFill>
              <a:latin typeface="Arial"/>
              <a:cs typeface="Arial"/>
            </a:endParaRPr>
          </a:p>
          <a:p>
            <a:pPr marL="7701" marR="114749" defTabSz="554492">
              <a:lnSpc>
                <a:spcPct val="111600"/>
              </a:lnSpc>
              <a:spcBef>
                <a:spcPts val="549"/>
              </a:spcBef>
            </a:pPr>
            <a:r>
              <a:rPr sz="1182" spc="12" dirty="0">
                <a:solidFill>
                  <a:srgbClr val="353535"/>
                </a:solidFill>
                <a:latin typeface="Arial"/>
                <a:cs typeface="Arial"/>
              </a:rPr>
              <a:t>Identify the  </a:t>
            </a:r>
            <a:r>
              <a:rPr sz="1182" spc="21" dirty="0">
                <a:solidFill>
                  <a:srgbClr val="353535"/>
                </a:solidFill>
                <a:latin typeface="Arial"/>
                <a:cs typeface="Arial"/>
              </a:rPr>
              <a:t>platform,</a:t>
            </a:r>
            <a:r>
              <a:rPr sz="1182" spc="-55" dirty="0">
                <a:solidFill>
                  <a:srgbClr val="353535"/>
                </a:solidFill>
                <a:latin typeface="Arial"/>
                <a:cs typeface="Arial"/>
              </a:rPr>
              <a:t> </a:t>
            </a:r>
            <a:r>
              <a:rPr sz="1182" spc="6" dirty="0">
                <a:solidFill>
                  <a:srgbClr val="353535"/>
                </a:solidFill>
                <a:latin typeface="Arial"/>
                <a:cs typeface="Arial"/>
              </a:rPr>
              <a:t>delivery  </a:t>
            </a:r>
            <a:r>
              <a:rPr sz="1182" spc="18" dirty="0">
                <a:solidFill>
                  <a:srgbClr val="353535"/>
                </a:solidFill>
                <a:latin typeface="Arial"/>
                <a:cs typeface="Arial"/>
              </a:rPr>
              <a:t>models </a:t>
            </a:r>
            <a:r>
              <a:rPr sz="1182" spc="15" dirty="0">
                <a:solidFill>
                  <a:srgbClr val="353535"/>
                </a:solidFill>
                <a:latin typeface="Arial"/>
                <a:cs typeface="Arial"/>
              </a:rPr>
              <a:t>and</a:t>
            </a:r>
            <a:r>
              <a:rPr sz="1182" spc="-61" dirty="0">
                <a:solidFill>
                  <a:srgbClr val="353535"/>
                </a:solidFill>
                <a:latin typeface="Arial"/>
                <a:cs typeface="Arial"/>
              </a:rPr>
              <a:t> </a:t>
            </a:r>
            <a:r>
              <a:rPr sz="1182" spc="9" dirty="0">
                <a:solidFill>
                  <a:srgbClr val="353535"/>
                </a:solidFill>
                <a:latin typeface="Arial"/>
                <a:cs typeface="Arial"/>
              </a:rPr>
              <a:t>skills  needed</a:t>
            </a:r>
            <a:endParaRPr sz="1182">
              <a:solidFill>
                <a:prstClr val="black"/>
              </a:solidFill>
              <a:latin typeface="Arial"/>
              <a:cs typeface="Arial"/>
            </a:endParaRPr>
          </a:p>
        </p:txBody>
      </p:sp>
      <p:sp>
        <p:nvSpPr>
          <p:cNvPr id="34" name="object 34"/>
          <p:cNvSpPr txBox="1"/>
          <p:nvPr/>
        </p:nvSpPr>
        <p:spPr>
          <a:xfrm>
            <a:off x="10460475" y="312448"/>
            <a:ext cx="1272253" cy="931281"/>
          </a:xfrm>
          <a:prstGeom prst="rect">
            <a:avLst/>
          </a:prstGeom>
        </p:spPr>
        <p:txBody>
          <a:bodyPr vert="horz" wrap="square" lIns="0" tIns="0" rIns="0" bIns="0" rtlCol="0">
            <a:spAutoFit/>
          </a:bodyPr>
          <a:lstStyle/>
          <a:p>
            <a:pPr algn="ctr" defTabSz="554492"/>
            <a:r>
              <a:rPr sz="1577" b="1" spc="97" dirty="0">
                <a:solidFill>
                  <a:srgbClr val="6C7775"/>
                </a:solidFill>
                <a:latin typeface="Arial"/>
                <a:cs typeface="Arial"/>
              </a:rPr>
              <a:t>Post-</a:t>
            </a:r>
            <a:endParaRPr sz="1577">
              <a:solidFill>
                <a:prstClr val="black"/>
              </a:solidFill>
              <a:latin typeface="Arial"/>
              <a:cs typeface="Arial"/>
            </a:endParaRPr>
          </a:p>
          <a:p>
            <a:pPr algn="ctr" defTabSz="554492">
              <a:spcBef>
                <a:spcPts val="224"/>
              </a:spcBef>
            </a:pPr>
            <a:r>
              <a:rPr sz="1577" b="1" spc="121" dirty="0">
                <a:solidFill>
                  <a:srgbClr val="6C7775"/>
                </a:solidFill>
                <a:latin typeface="Arial"/>
                <a:cs typeface="Arial"/>
              </a:rPr>
              <a:t>De</a:t>
            </a:r>
            <a:r>
              <a:rPr sz="1577" b="1" spc="88" dirty="0">
                <a:solidFill>
                  <a:srgbClr val="6C7775"/>
                </a:solidFill>
                <a:latin typeface="Arial"/>
                <a:cs typeface="Arial"/>
              </a:rPr>
              <a:t>p</a:t>
            </a:r>
            <a:r>
              <a:rPr sz="1577" b="1" spc="52" dirty="0">
                <a:solidFill>
                  <a:srgbClr val="6C7775"/>
                </a:solidFill>
                <a:latin typeface="Arial"/>
                <a:cs typeface="Arial"/>
              </a:rPr>
              <a:t>l</a:t>
            </a:r>
            <a:r>
              <a:rPr sz="1577" b="1" spc="88" dirty="0">
                <a:solidFill>
                  <a:srgbClr val="6C7775"/>
                </a:solidFill>
                <a:latin typeface="Arial"/>
                <a:cs typeface="Arial"/>
              </a:rPr>
              <a:t>o</a:t>
            </a:r>
            <a:r>
              <a:rPr sz="1577" b="1" spc="30" dirty="0">
                <a:solidFill>
                  <a:srgbClr val="6C7775"/>
                </a:solidFill>
                <a:latin typeface="Arial"/>
                <a:cs typeface="Arial"/>
              </a:rPr>
              <a:t>y</a:t>
            </a:r>
            <a:r>
              <a:rPr sz="1577" b="1" spc="124" dirty="0">
                <a:solidFill>
                  <a:srgbClr val="6C7775"/>
                </a:solidFill>
                <a:latin typeface="Arial"/>
                <a:cs typeface="Arial"/>
              </a:rPr>
              <a:t>m</a:t>
            </a:r>
            <a:r>
              <a:rPr sz="1577" b="1" spc="118" dirty="0">
                <a:solidFill>
                  <a:srgbClr val="6C7775"/>
                </a:solidFill>
                <a:latin typeface="Arial"/>
                <a:cs typeface="Arial"/>
              </a:rPr>
              <a:t>e</a:t>
            </a:r>
            <a:r>
              <a:rPr sz="1577" b="1" spc="64" dirty="0">
                <a:solidFill>
                  <a:srgbClr val="6C7775"/>
                </a:solidFill>
                <a:latin typeface="Arial"/>
                <a:cs typeface="Arial"/>
              </a:rPr>
              <a:t>n</a:t>
            </a:r>
            <a:r>
              <a:rPr sz="1577" b="1" spc="36" dirty="0">
                <a:solidFill>
                  <a:srgbClr val="6C7775"/>
                </a:solidFill>
                <a:latin typeface="Arial"/>
                <a:cs typeface="Arial"/>
              </a:rPr>
              <a:t>t</a:t>
            </a:r>
            <a:endParaRPr sz="1577">
              <a:solidFill>
                <a:prstClr val="black"/>
              </a:solidFill>
              <a:latin typeface="Arial"/>
              <a:cs typeface="Arial"/>
            </a:endParaRPr>
          </a:p>
          <a:p>
            <a:pPr marL="107433" marR="95111" algn="ctr" defTabSz="554492">
              <a:lnSpc>
                <a:spcPct val="111600"/>
              </a:lnSpc>
              <a:spcBef>
                <a:spcPts val="55"/>
              </a:spcBef>
            </a:pPr>
            <a:r>
              <a:rPr sz="1182" spc="33" dirty="0">
                <a:solidFill>
                  <a:srgbClr val="6C7775"/>
                </a:solidFill>
                <a:latin typeface="Arial"/>
                <a:cs typeface="Arial"/>
              </a:rPr>
              <a:t>Optimize</a:t>
            </a:r>
            <a:r>
              <a:rPr sz="1182" dirty="0">
                <a:solidFill>
                  <a:srgbClr val="6C7775"/>
                </a:solidFill>
                <a:latin typeface="Arial"/>
                <a:cs typeface="Arial"/>
              </a:rPr>
              <a:t> </a:t>
            </a:r>
            <a:r>
              <a:rPr sz="1182" spc="3" dirty="0">
                <a:solidFill>
                  <a:srgbClr val="6C7775"/>
                </a:solidFill>
                <a:latin typeface="Arial"/>
                <a:cs typeface="Arial"/>
              </a:rPr>
              <a:t>Value  </a:t>
            </a:r>
            <a:r>
              <a:rPr sz="1182" spc="36" dirty="0">
                <a:solidFill>
                  <a:srgbClr val="6C7775"/>
                </a:solidFill>
                <a:latin typeface="Arial"/>
                <a:cs typeface="Arial"/>
              </a:rPr>
              <a:t>Captured</a:t>
            </a:r>
            <a:endParaRPr sz="1182">
              <a:solidFill>
                <a:prstClr val="black"/>
              </a:solidFill>
              <a:latin typeface="Arial"/>
              <a:cs typeface="Arial"/>
            </a:endParaRPr>
          </a:p>
        </p:txBody>
      </p:sp>
      <p:sp>
        <p:nvSpPr>
          <p:cNvPr id="35" name="object 35"/>
          <p:cNvSpPr/>
          <p:nvPr/>
        </p:nvSpPr>
        <p:spPr>
          <a:xfrm>
            <a:off x="5069270" y="2135342"/>
            <a:ext cx="0" cy="1665404"/>
          </a:xfrm>
          <a:custGeom>
            <a:avLst/>
            <a:gdLst/>
            <a:ahLst/>
            <a:cxnLst/>
            <a:rect l="l" t="t" r="r" b="b"/>
            <a:pathLst>
              <a:path h="2746375">
                <a:moveTo>
                  <a:pt x="0" y="2746127"/>
                </a:moveTo>
                <a:lnTo>
                  <a:pt x="0" y="0"/>
                </a:lnTo>
              </a:path>
            </a:pathLst>
          </a:custGeom>
          <a:ln w="20941">
            <a:solidFill>
              <a:srgbClr val="FFFFFF"/>
            </a:solidFill>
          </a:ln>
        </p:spPr>
        <p:txBody>
          <a:bodyPr wrap="square" lIns="0" tIns="0" rIns="0" bIns="0" rtlCol="0"/>
          <a:lstStyle/>
          <a:p>
            <a:pPr defTabSz="554492"/>
            <a:endParaRPr sz="1092">
              <a:solidFill>
                <a:prstClr val="black"/>
              </a:solidFill>
            </a:endParaRPr>
          </a:p>
        </p:txBody>
      </p:sp>
      <p:sp>
        <p:nvSpPr>
          <p:cNvPr id="36" name="object 36"/>
          <p:cNvSpPr/>
          <p:nvPr/>
        </p:nvSpPr>
        <p:spPr>
          <a:xfrm>
            <a:off x="4954179" y="3794849"/>
            <a:ext cx="228728" cy="228728"/>
          </a:xfrm>
          <a:custGeom>
            <a:avLst/>
            <a:gdLst/>
            <a:ahLst/>
            <a:cxnLst/>
            <a:rect l="l" t="t" r="r" b="b"/>
            <a:pathLst>
              <a:path w="377190" h="377190">
                <a:moveTo>
                  <a:pt x="188475" y="0"/>
                </a:moveTo>
                <a:lnTo>
                  <a:pt x="138372" y="6732"/>
                </a:lnTo>
                <a:lnTo>
                  <a:pt x="93349" y="25732"/>
                </a:lnTo>
                <a:lnTo>
                  <a:pt x="55203" y="55203"/>
                </a:lnTo>
                <a:lnTo>
                  <a:pt x="25732" y="93349"/>
                </a:lnTo>
                <a:lnTo>
                  <a:pt x="6732" y="138372"/>
                </a:lnTo>
                <a:lnTo>
                  <a:pt x="0" y="188475"/>
                </a:lnTo>
                <a:lnTo>
                  <a:pt x="6732" y="238583"/>
                </a:lnTo>
                <a:lnTo>
                  <a:pt x="25732" y="283607"/>
                </a:lnTo>
                <a:lnTo>
                  <a:pt x="55203" y="321751"/>
                </a:lnTo>
                <a:lnTo>
                  <a:pt x="93349" y="351221"/>
                </a:lnTo>
                <a:lnTo>
                  <a:pt x="138372" y="370219"/>
                </a:lnTo>
                <a:lnTo>
                  <a:pt x="188475" y="376951"/>
                </a:lnTo>
                <a:lnTo>
                  <a:pt x="238579" y="370219"/>
                </a:lnTo>
                <a:lnTo>
                  <a:pt x="283602" y="351221"/>
                </a:lnTo>
                <a:lnTo>
                  <a:pt x="321748" y="321751"/>
                </a:lnTo>
                <a:lnTo>
                  <a:pt x="351219" y="283607"/>
                </a:lnTo>
                <a:lnTo>
                  <a:pt x="370219" y="238583"/>
                </a:lnTo>
                <a:lnTo>
                  <a:pt x="376951" y="188475"/>
                </a:lnTo>
                <a:lnTo>
                  <a:pt x="370219" y="138372"/>
                </a:lnTo>
                <a:lnTo>
                  <a:pt x="351219" y="93349"/>
                </a:lnTo>
                <a:lnTo>
                  <a:pt x="321748" y="55203"/>
                </a:lnTo>
                <a:lnTo>
                  <a:pt x="283602" y="25732"/>
                </a:lnTo>
                <a:lnTo>
                  <a:pt x="238579" y="6732"/>
                </a:lnTo>
                <a:lnTo>
                  <a:pt x="188475"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37" name="object 37"/>
          <p:cNvSpPr/>
          <p:nvPr/>
        </p:nvSpPr>
        <p:spPr>
          <a:xfrm>
            <a:off x="4954179" y="3794849"/>
            <a:ext cx="228728" cy="228728"/>
          </a:xfrm>
          <a:custGeom>
            <a:avLst/>
            <a:gdLst/>
            <a:ahLst/>
            <a:cxnLst/>
            <a:rect l="l" t="t" r="r" b="b"/>
            <a:pathLst>
              <a:path w="377190" h="377190">
                <a:moveTo>
                  <a:pt x="0" y="188476"/>
                </a:moveTo>
                <a:lnTo>
                  <a:pt x="6732" y="138371"/>
                </a:lnTo>
                <a:lnTo>
                  <a:pt x="25732" y="93348"/>
                </a:lnTo>
                <a:lnTo>
                  <a:pt x="55203" y="55203"/>
                </a:lnTo>
                <a:lnTo>
                  <a:pt x="93348" y="25732"/>
                </a:lnTo>
                <a:lnTo>
                  <a:pt x="138371" y="6732"/>
                </a:lnTo>
                <a:lnTo>
                  <a:pt x="188476" y="0"/>
                </a:lnTo>
                <a:lnTo>
                  <a:pt x="238580" y="6732"/>
                </a:lnTo>
                <a:lnTo>
                  <a:pt x="283603" y="25732"/>
                </a:lnTo>
                <a:lnTo>
                  <a:pt x="321749" y="55203"/>
                </a:lnTo>
                <a:lnTo>
                  <a:pt x="351220" y="93348"/>
                </a:lnTo>
                <a:lnTo>
                  <a:pt x="370220" y="138371"/>
                </a:lnTo>
                <a:lnTo>
                  <a:pt x="376952" y="188476"/>
                </a:lnTo>
                <a:lnTo>
                  <a:pt x="370220" y="238580"/>
                </a:lnTo>
                <a:lnTo>
                  <a:pt x="351220" y="283603"/>
                </a:lnTo>
                <a:lnTo>
                  <a:pt x="321749" y="321749"/>
                </a:lnTo>
                <a:lnTo>
                  <a:pt x="283603" y="351220"/>
                </a:lnTo>
                <a:lnTo>
                  <a:pt x="238580" y="370220"/>
                </a:lnTo>
                <a:lnTo>
                  <a:pt x="188476" y="376952"/>
                </a:lnTo>
                <a:lnTo>
                  <a:pt x="138371" y="370220"/>
                </a:lnTo>
                <a:lnTo>
                  <a:pt x="93348" y="351220"/>
                </a:lnTo>
                <a:lnTo>
                  <a:pt x="55203" y="321749"/>
                </a:lnTo>
                <a:lnTo>
                  <a:pt x="25732" y="283603"/>
                </a:lnTo>
                <a:lnTo>
                  <a:pt x="6732" y="238580"/>
                </a:lnTo>
                <a:lnTo>
                  <a:pt x="0" y="188476"/>
                </a:lnTo>
                <a:close/>
              </a:path>
            </a:pathLst>
          </a:custGeom>
          <a:ln w="73296">
            <a:solidFill>
              <a:srgbClr val="FFFFFF"/>
            </a:solidFill>
          </a:ln>
        </p:spPr>
        <p:txBody>
          <a:bodyPr wrap="square" lIns="0" tIns="0" rIns="0" bIns="0" rtlCol="0"/>
          <a:lstStyle/>
          <a:p>
            <a:pPr defTabSz="554492"/>
            <a:endParaRPr sz="1092">
              <a:solidFill>
                <a:prstClr val="black"/>
              </a:solidFill>
            </a:endParaRPr>
          </a:p>
        </p:txBody>
      </p:sp>
      <p:sp>
        <p:nvSpPr>
          <p:cNvPr id="38" name="object 38"/>
          <p:cNvSpPr/>
          <p:nvPr/>
        </p:nvSpPr>
        <p:spPr>
          <a:xfrm>
            <a:off x="4711854" y="1684638"/>
            <a:ext cx="685800" cy="685800"/>
          </a:xfrm>
          <a:custGeom>
            <a:avLst/>
            <a:gdLst/>
            <a:ahLst/>
            <a:cxnLst/>
            <a:rect l="l" t="t" r="r" b="b"/>
            <a:pathLst>
              <a:path w="1130934" h="1130935">
                <a:moveTo>
                  <a:pt x="565427" y="0"/>
                </a:moveTo>
                <a:lnTo>
                  <a:pt x="516639" y="2075"/>
                </a:lnTo>
                <a:lnTo>
                  <a:pt x="469004" y="8188"/>
                </a:lnTo>
                <a:lnTo>
                  <a:pt x="422690" y="18170"/>
                </a:lnTo>
                <a:lnTo>
                  <a:pt x="377869" y="31849"/>
                </a:lnTo>
                <a:lnTo>
                  <a:pt x="334710" y="49058"/>
                </a:lnTo>
                <a:lnTo>
                  <a:pt x="293382" y="69625"/>
                </a:lnTo>
                <a:lnTo>
                  <a:pt x="254055" y="93381"/>
                </a:lnTo>
                <a:lnTo>
                  <a:pt x="216899" y="120157"/>
                </a:lnTo>
                <a:lnTo>
                  <a:pt x="182084" y="149783"/>
                </a:lnTo>
                <a:lnTo>
                  <a:pt x="149779" y="182088"/>
                </a:lnTo>
                <a:lnTo>
                  <a:pt x="120154" y="216904"/>
                </a:lnTo>
                <a:lnTo>
                  <a:pt x="93379" y="254060"/>
                </a:lnTo>
                <a:lnTo>
                  <a:pt x="69623" y="293386"/>
                </a:lnTo>
                <a:lnTo>
                  <a:pt x="49056" y="334714"/>
                </a:lnTo>
                <a:lnTo>
                  <a:pt x="31848" y="377873"/>
                </a:lnTo>
                <a:lnTo>
                  <a:pt x="18169" y="422694"/>
                </a:lnTo>
                <a:lnTo>
                  <a:pt x="8188" y="469006"/>
                </a:lnTo>
                <a:lnTo>
                  <a:pt x="2075" y="516641"/>
                </a:lnTo>
                <a:lnTo>
                  <a:pt x="0" y="565427"/>
                </a:lnTo>
                <a:lnTo>
                  <a:pt x="2075" y="614216"/>
                </a:lnTo>
                <a:lnTo>
                  <a:pt x="8188" y="661851"/>
                </a:lnTo>
                <a:lnTo>
                  <a:pt x="18169" y="708164"/>
                </a:lnTo>
                <a:lnTo>
                  <a:pt x="31848" y="752985"/>
                </a:lnTo>
                <a:lnTo>
                  <a:pt x="49056" y="796145"/>
                </a:lnTo>
                <a:lnTo>
                  <a:pt x="69623" y="837473"/>
                </a:lnTo>
                <a:lnTo>
                  <a:pt x="93379" y="876800"/>
                </a:lnTo>
                <a:lnTo>
                  <a:pt x="120154" y="913955"/>
                </a:lnTo>
                <a:lnTo>
                  <a:pt x="149779" y="948771"/>
                </a:lnTo>
                <a:lnTo>
                  <a:pt x="182084" y="981076"/>
                </a:lnTo>
                <a:lnTo>
                  <a:pt x="216899" y="1010701"/>
                </a:lnTo>
                <a:lnTo>
                  <a:pt x="254055" y="1037476"/>
                </a:lnTo>
                <a:lnTo>
                  <a:pt x="293382" y="1061232"/>
                </a:lnTo>
                <a:lnTo>
                  <a:pt x="334710" y="1081798"/>
                </a:lnTo>
                <a:lnTo>
                  <a:pt x="377869" y="1099006"/>
                </a:lnTo>
                <a:lnTo>
                  <a:pt x="422690" y="1112686"/>
                </a:lnTo>
                <a:lnTo>
                  <a:pt x="469004" y="1122667"/>
                </a:lnTo>
                <a:lnTo>
                  <a:pt x="516639" y="1128780"/>
                </a:lnTo>
                <a:lnTo>
                  <a:pt x="565427" y="1130855"/>
                </a:lnTo>
                <a:lnTo>
                  <a:pt x="614214" y="1128780"/>
                </a:lnTo>
                <a:lnTo>
                  <a:pt x="661848" y="1122667"/>
                </a:lnTo>
                <a:lnTo>
                  <a:pt x="708161" y="1112686"/>
                </a:lnTo>
                <a:lnTo>
                  <a:pt x="752981" y="1099006"/>
                </a:lnTo>
                <a:lnTo>
                  <a:pt x="796140" y="1081798"/>
                </a:lnTo>
                <a:lnTo>
                  <a:pt x="837468" y="1061232"/>
                </a:lnTo>
                <a:lnTo>
                  <a:pt x="876795" y="1037476"/>
                </a:lnTo>
                <a:lnTo>
                  <a:pt x="913951" y="1010701"/>
                </a:lnTo>
                <a:lnTo>
                  <a:pt x="948767" y="981076"/>
                </a:lnTo>
                <a:lnTo>
                  <a:pt x="981072" y="948771"/>
                </a:lnTo>
                <a:lnTo>
                  <a:pt x="1010697" y="913955"/>
                </a:lnTo>
                <a:lnTo>
                  <a:pt x="1037473" y="876800"/>
                </a:lnTo>
                <a:lnTo>
                  <a:pt x="1061230" y="837473"/>
                </a:lnTo>
                <a:lnTo>
                  <a:pt x="1081797" y="796145"/>
                </a:lnTo>
                <a:lnTo>
                  <a:pt x="1099005" y="752985"/>
                </a:lnTo>
                <a:lnTo>
                  <a:pt x="1112685" y="708164"/>
                </a:lnTo>
                <a:lnTo>
                  <a:pt x="1122666" y="661851"/>
                </a:lnTo>
                <a:lnTo>
                  <a:pt x="1128780" y="614216"/>
                </a:lnTo>
                <a:lnTo>
                  <a:pt x="1130855" y="565427"/>
                </a:lnTo>
                <a:lnTo>
                  <a:pt x="1128780" y="516641"/>
                </a:lnTo>
                <a:lnTo>
                  <a:pt x="1122666" y="469006"/>
                </a:lnTo>
                <a:lnTo>
                  <a:pt x="1112685" y="422694"/>
                </a:lnTo>
                <a:lnTo>
                  <a:pt x="1099005" y="377873"/>
                </a:lnTo>
                <a:lnTo>
                  <a:pt x="1081797" y="334714"/>
                </a:lnTo>
                <a:lnTo>
                  <a:pt x="1061230" y="293386"/>
                </a:lnTo>
                <a:lnTo>
                  <a:pt x="1037473" y="254060"/>
                </a:lnTo>
                <a:lnTo>
                  <a:pt x="1010697" y="216904"/>
                </a:lnTo>
                <a:lnTo>
                  <a:pt x="981072" y="182088"/>
                </a:lnTo>
                <a:lnTo>
                  <a:pt x="948767" y="149783"/>
                </a:lnTo>
                <a:lnTo>
                  <a:pt x="913951" y="120157"/>
                </a:lnTo>
                <a:lnTo>
                  <a:pt x="876795" y="93381"/>
                </a:lnTo>
                <a:lnTo>
                  <a:pt x="837468" y="69625"/>
                </a:lnTo>
                <a:lnTo>
                  <a:pt x="796140" y="49058"/>
                </a:lnTo>
                <a:lnTo>
                  <a:pt x="752981" y="31849"/>
                </a:lnTo>
                <a:lnTo>
                  <a:pt x="708161" y="18170"/>
                </a:lnTo>
                <a:lnTo>
                  <a:pt x="661848" y="8188"/>
                </a:lnTo>
                <a:lnTo>
                  <a:pt x="614214" y="2075"/>
                </a:lnTo>
                <a:lnTo>
                  <a:pt x="565427"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39" name="object 39"/>
          <p:cNvSpPr/>
          <p:nvPr/>
        </p:nvSpPr>
        <p:spPr>
          <a:xfrm>
            <a:off x="4843220" y="1804188"/>
            <a:ext cx="423186" cy="447060"/>
          </a:xfrm>
          <a:custGeom>
            <a:avLst/>
            <a:gdLst/>
            <a:ahLst/>
            <a:cxnLst/>
            <a:rect l="l" t="t" r="r" b="b"/>
            <a:pathLst>
              <a:path w="697865" h="737235">
                <a:moveTo>
                  <a:pt x="346083" y="0"/>
                </a:moveTo>
                <a:lnTo>
                  <a:pt x="317180" y="47932"/>
                </a:lnTo>
                <a:lnTo>
                  <a:pt x="316948" y="72609"/>
                </a:lnTo>
                <a:lnTo>
                  <a:pt x="317180" y="97283"/>
                </a:lnTo>
                <a:lnTo>
                  <a:pt x="327393" y="140139"/>
                </a:lnTo>
                <a:lnTo>
                  <a:pt x="346083" y="146382"/>
                </a:lnTo>
                <a:lnTo>
                  <a:pt x="355550" y="143743"/>
                </a:lnTo>
                <a:lnTo>
                  <a:pt x="363308" y="137953"/>
                </a:lnTo>
                <a:lnTo>
                  <a:pt x="368553" y="129423"/>
                </a:lnTo>
                <a:lnTo>
                  <a:pt x="370481" y="118561"/>
                </a:lnTo>
                <a:lnTo>
                  <a:pt x="370430" y="72609"/>
                </a:lnTo>
                <a:lnTo>
                  <a:pt x="369318" y="25904"/>
                </a:lnTo>
                <a:lnTo>
                  <a:pt x="346083" y="0"/>
                </a:lnTo>
                <a:close/>
              </a:path>
              <a:path w="697865" h="737235">
                <a:moveTo>
                  <a:pt x="467624" y="213846"/>
                </a:moveTo>
                <a:lnTo>
                  <a:pt x="359413" y="213846"/>
                </a:lnTo>
                <a:lnTo>
                  <a:pt x="402070" y="228043"/>
                </a:lnTo>
                <a:lnTo>
                  <a:pt x="438989" y="257891"/>
                </a:lnTo>
                <a:lnTo>
                  <a:pt x="465380" y="298032"/>
                </a:lnTo>
                <a:lnTo>
                  <a:pt x="476456" y="343109"/>
                </a:lnTo>
                <a:lnTo>
                  <a:pt x="475198" y="370173"/>
                </a:lnTo>
                <a:lnTo>
                  <a:pt x="468119" y="394871"/>
                </a:lnTo>
                <a:lnTo>
                  <a:pt x="455774" y="417518"/>
                </a:lnTo>
                <a:lnTo>
                  <a:pt x="438719" y="438426"/>
                </a:lnTo>
                <a:lnTo>
                  <a:pt x="420706" y="460007"/>
                </a:lnTo>
                <a:lnTo>
                  <a:pt x="405324" y="482870"/>
                </a:lnTo>
                <a:lnTo>
                  <a:pt x="392912" y="507335"/>
                </a:lnTo>
                <a:lnTo>
                  <a:pt x="383810" y="533721"/>
                </a:lnTo>
                <a:lnTo>
                  <a:pt x="382314" y="545546"/>
                </a:lnTo>
                <a:lnTo>
                  <a:pt x="384881" y="555264"/>
                </a:lnTo>
                <a:lnTo>
                  <a:pt x="391110" y="562695"/>
                </a:lnTo>
                <a:lnTo>
                  <a:pt x="400605" y="567658"/>
                </a:lnTo>
                <a:lnTo>
                  <a:pt x="411444" y="569096"/>
                </a:lnTo>
                <a:lnTo>
                  <a:pt x="421302" y="566396"/>
                </a:lnTo>
                <a:lnTo>
                  <a:pt x="429105" y="560036"/>
                </a:lnTo>
                <a:lnTo>
                  <a:pt x="433777" y="550496"/>
                </a:lnTo>
                <a:lnTo>
                  <a:pt x="441907" y="528507"/>
                </a:lnTo>
                <a:lnTo>
                  <a:pt x="453029" y="508112"/>
                </a:lnTo>
                <a:lnTo>
                  <a:pt x="466438" y="489088"/>
                </a:lnTo>
                <a:lnTo>
                  <a:pt x="481430" y="471210"/>
                </a:lnTo>
                <a:lnTo>
                  <a:pt x="501318" y="444782"/>
                </a:lnTo>
                <a:lnTo>
                  <a:pt x="515352" y="418051"/>
                </a:lnTo>
                <a:lnTo>
                  <a:pt x="523671" y="392924"/>
                </a:lnTo>
                <a:lnTo>
                  <a:pt x="526413" y="371308"/>
                </a:lnTo>
                <a:lnTo>
                  <a:pt x="521884" y="318828"/>
                </a:lnTo>
                <a:lnTo>
                  <a:pt x="508213" y="273404"/>
                </a:lnTo>
                <a:lnTo>
                  <a:pt x="486845" y="235231"/>
                </a:lnTo>
                <a:lnTo>
                  <a:pt x="467624" y="213846"/>
                </a:lnTo>
                <a:close/>
              </a:path>
              <a:path w="697865" h="737235">
                <a:moveTo>
                  <a:pt x="353340" y="158958"/>
                </a:moveTo>
                <a:lnTo>
                  <a:pt x="308122" y="161072"/>
                </a:lnTo>
                <a:lnTo>
                  <a:pt x="267846" y="172969"/>
                </a:lnTo>
                <a:lnTo>
                  <a:pt x="232830" y="194178"/>
                </a:lnTo>
                <a:lnTo>
                  <a:pt x="203388" y="224229"/>
                </a:lnTo>
                <a:lnTo>
                  <a:pt x="179837" y="262651"/>
                </a:lnTo>
                <a:lnTo>
                  <a:pt x="163880" y="305649"/>
                </a:lnTo>
                <a:lnTo>
                  <a:pt x="158402" y="348028"/>
                </a:lnTo>
                <a:lnTo>
                  <a:pt x="163345" y="389421"/>
                </a:lnTo>
                <a:lnTo>
                  <a:pt x="178653" y="429462"/>
                </a:lnTo>
                <a:lnTo>
                  <a:pt x="204266" y="467786"/>
                </a:lnTo>
                <a:lnTo>
                  <a:pt x="220540" y="486878"/>
                </a:lnTo>
                <a:lnTo>
                  <a:pt x="235596" y="506389"/>
                </a:lnTo>
                <a:lnTo>
                  <a:pt x="248141" y="527275"/>
                </a:lnTo>
                <a:lnTo>
                  <a:pt x="256882" y="550496"/>
                </a:lnTo>
                <a:lnTo>
                  <a:pt x="261480" y="559703"/>
                </a:lnTo>
                <a:lnTo>
                  <a:pt x="269036" y="565383"/>
                </a:lnTo>
                <a:lnTo>
                  <a:pt x="278418" y="567627"/>
                </a:lnTo>
                <a:lnTo>
                  <a:pt x="288493" y="566527"/>
                </a:lnTo>
                <a:lnTo>
                  <a:pt x="297360" y="561758"/>
                </a:lnTo>
                <a:lnTo>
                  <a:pt x="303595" y="554933"/>
                </a:lnTo>
                <a:lnTo>
                  <a:pt x="306858" y="546274"/>
                </a:lnTo>
                <a:lnTo>
                  <a:pt x="306807" y="536004"/>
                </a:lnTo>
                <a:lnTo>
                  <a:pt x="291569" y="495532"/>
                </a:lnTo>
                <a:lnTo>
                  <a:pt x="264570" y="455319"/>
                </a:lnTo>
                <a:lnTo>
                  <a:pt x="248118" y="437264"/>
                </a:lnTo>
                <a:lnTo>
                  <a:pt x="227696" y="411358"/>
                </a:lnTo>
                <a:lnTo>
                  <a:pt x="214547" y="383009"/>
                </a:lnTo>
                <a:lnTo>
                  <a:pt x="209414" y="352146"/>
                </a:lnTo>
                <a:lnTo>
                  <a:pt x="213040" y="318702"/>
                </a:lnTo>
                <a:lnTo>
                  <a:pt x="232994" y="272988"/>
                </a:lnTo>
                <a:lnTo>
                  <a:pt x="266558" y="238376"/>
                </a:lnTo>
                <a:lnTo>
                  <a:pt x="309957" y="217713"/>
                </a:lnTo>
                <a:lnTo>
                  <a:pt x="359413" y="213846"/>
                </a:lnTo>
                <a:lnTo>
                  <a:pt x="467624" y="213846"/>
                </a:lnTo>
                <a:lnTo>
                  <a:pt x="459228" y="204504"/>
                </a:lnTo>
                <a:lnTo>
                  <a:pt x="426807" y="181419"/>
                </a:lnTo>
                <a:lnTo>
                  <a:pt x="391028" y="166172"/>
                </a:lnTo>
                <a:lnTo>
                  <a:pt x="353340" y="158958"/>
                </a:lnTo>
                <a:close/>
              </a:path>
              <a:path w="697865" h="737235">
                <a:moveTo>
                  <a:pt x="298943" y="365664"/>
                </a:moveTo>
                <a:lnTo>
                  <a:pt x="268190" y="390798"/>
                </a:lnTo>
                <a:lnTo>
                  <a:pt x="269404" y="400476"/>
                </a:lnTo>
                <a:lnTo>
                  <a:pt x="274033" y="409443"/>
                </a:lnTo>
                <a:lnTo>
                  <a:pt x="277688" y="414332"/>
                </a:lnTo>
                <a:lnTo>
                  <a:pt x="282473" y="419118"/>
                </a:lnTo>
                <a:lnTo>
                  <a:pt x="287363" y="422772"/>
                </a:lnTo>
                <a:lnTo>
                  <a:pt x="305329" y="438951"/>
                </a:lnTo>
                <a:lnTo>
                  <a:pt x="319232" y="457056"/>
                </a:lnTo>
                <a:lnTo>
                  <a:pt x="326729" y="478134"/>
                </a:lnTo>
                <a:lnTo>
                  <a:pt x="325477" y="503230"/>
                </a:lnTo>
                <a:lnTo>
                  <a:pt x="325477" y="507021"/>
                </a:lnTo>
                <a:lnTo>
                  <a:pt x="328807" y="516957"/>
                </a:lnTo>
                <a:lnTo>
                  <a:pt x="334834" y="524423"/>
                </a:lnTo>
                <a:lnTo>
                  <a:pt x="343148" y="528913"/>
                </a:lnTo>
                <a:lnTo>
                  <a:pt x="353340" y="529921"/>
                </a:lnTo>
                <a:lnTo>
                  <a:pt x="362964" y="527471"/>
                </a:lnTo>
                <a:lnTo>
                  <a:pt x="370897" y="522179"/>
                </a:lnTo>
                <a:lnTo>
                  <a:pt x="375857" y="514367"/>
                </a:lnTo>
                <a:lnTo>
                  <a:pt x="376564" y="504361"/>
                </a:lnTo>
                <a:lnTo>
                  <a:pt x="376294" y="479283"/>
                </a:lnTo>
                <a:lnTo>
                  <a:pt x="383553" y="458215"/>
                </a:lnTo>
                <a:lnTo>
                  <a:pt x="396758" y="440113"/>
                </a:lnTo>
                <a:lnTo>
                  <a:pt x="414322" y="423934"/>
                </a:lnTo>
                <a:lnTo>
                  <a:pt x="417987" y="420280"/>
                </a:lnTo>
                <a:lnTo>
                  <a:pt x="421538" y="416688"/>
                </a:lnTo>
                <a:lnTo>
                  <a:pt x="351036" y="416688"/>
                </a:lnTo>
                <a:lnTo>
                  <a:pt x="339922" y="404517"/>
                </a:lnTo>
                <a:lnTo>
                  <a:pt x="329895" y="393365"/>
                </a:lnTo>
                <a:lnTo>
                  <a:pt x="320376" y="382957"/>
                </a:lnTo>
                <a:lnTo>
                  <a:pt x="310629" y="372847"/>
                </a:lnTo>
                <a:lnTo>
                  <a:pt x="305121" y="367957"/>
                </a:lnTo>
                <a:lnTo>
                  <a:pt x="298943" y="365664"/>
                </a:lnTo>
                <a:close/>
              </a:path>
              <a:path w="697865" h="737235">
                <a:moveTo>
                  <a:pt x="407528" y="366424"/>
                </a:moveTo>
                <a:lnTo>
                  <a:pt x="397308" y="369213"/>
                </a:lnTo>
                <a:lnTo>
                  <a:pt x="387632" y="376260"/>
                </a:lnTo>
                <a:lnTo>
                  <a:pt x="372245" y="393393"/>
                </a:lnTo>
                <a:lnTo>
                  <a:pt x="361384" y="405399"/>
                </a:lnTo>
                <a:lnTo>
                  <a:pt x="351036" y="416688"/>
                </a:lnTo>
                <a:lnTo>
                  <a:pt x="421538" y="416688"/>
                </a:lnTo>
                <a:lnTo>
                  <a:pt x="425358" y="412867"/>
                </a:lnTo>
                <a:lnTo>
                  <a:pt x="432243" y="402682"/>
                </a:lnTo>
                <a:lnTo>
                  <a:pt x="434545" y="392924"/>
                </a:lnTo>
                <a:lnTo>
                  <a:pt x="434596" y="392293"/>
                </a:lnTo>
                <a:lnTo>
                  <a:pt x="432688" y="382803"/>
                </a:lnTo>
                <a:lnTo>
                  <a:pt x="426521" y="373967"/>
                </a:lnTo>
                <a:lnTo>
                  <a:pt x="417521" y="367981"/>
                </a:lnTo>
                <a:lnTo>
                  <a:pt x="407528" y="366424"/>
                </a:lnTo>
                <a:close/>
              </a:path>
              <a:path w="697865" h="737235">
                <a:moveTo>
                  <a:pt x="121891" y="341947"/>
                </a:moveTo>
                <a:lnTo>
                  <a:pt x="74259" y="341947"/>
                </a:lnTo>
                <a:lnTo>
                  <a:pt x="28124" y="343109"/>
                </a:lnTo>
                <a:lnTo>
                  <a:pt x="0" y="369119"/>
                </a:lnTo>
                <a:lnTo>
                  <a:pt x="1839" y="378534"/>
                </a:lnTo>
                <a:lnTo>
                  <a:pt x="50130" y="396400"/>
                </a:lnTo>
                <a:lnTo>
                  <a:pt x="74813" y="396631"/>
                </a:lnTo>
                <a:lnTo>
                  <a:pt x="99494" y="396400"/>
                </a:lnTo>
                <a:lnTo>
                  <a:pt x="141880" y="386184"/>
                </a:lnTo>
                <a:lnTo>
                  <a:pt x="148582" y="367507"/>
                </a:lnTo>
                <a:lnTo>
                  <a:pt x="146645" y="357342"/>
                </a:lnTo>
                <a:lnTo>
                  <a:pt x="141193" y="349241"/>
                </a:lnTo>
                <a:lnTo>
                  <a:pt x="132763" y="343884"/>
                </a:lnTo>
                <a:lnTo>
                  <a:pt x="121891" y="341947"/>
                </a:lnTo>
                <a:close/>
              </a:path>
              <a:path w="697865" h="737235">
                <a:moveTo>
                  <a:pt x="588780" y="341444"/>
                </a:moveTo>
                <a:lnTo>
                  <a:pt x="550900" y="357660"/>
                </a:lnTo>
                <a:lnTo>
                  <a:pt x="548913" y="367981"/>
                </a:lnTo>
                <a:lnTo>
                  <a:pt x="550827" y="377721"/>
                </a:lnTo>
                <a:lnTo>
                  <a:pt x="599131" y="395269"/>
                </a:lnTo>
                <a:lnTo>
                  <a:pt x="623813" y="395501"/>
                </a:lnTo>
                <a:lnTo>
                  <a:pt x="648487" y="395269"/>
                </a:lnTo>
                <a:lnTo>
                  <a:pt x="691332" y="385038"/>
                </a:lnTo>
                <a:lnTo>
                  <a:pt x="697560" y="366424"/>
                </a:lnTo>
                <a:lnTo>
                  <a:pt x="697495" y="365978"/>
                </a:lnTo>
                <a:lnTo>
                  <a:pt x="623248" y="341947"/>
                </a:lnTo>
                <a:lnTo>
                  <a:pt x="611581" y="341779"/>
                </a:lnTo>
                <a:lnTo>
                  <a:pt x="600180" y="341500"/>
                </a:lnTo>
                <a:lnTo>
                  <a:pt x="588780" y="341444"/>
                </a:lnTo>
                <a:close/>
              </a:path>
              <a:path w="697865" h="737235">
                <a:moveTo>
                  <a:pt x="93934" y="96960"/>
                </a:moveTo>
                <a:lnTo>
                  <a:pt x="86981" y="99347"/>
                </a:lnTo>
                <a:lnTo>
                  <a:pt x="81474" y="104824"/>
                </a:lnTo>
                <a:lnTo>
                  <a:pt x="74859" y="113876"/>
                </a:lnTo>
                <a:lnTo>
                  <a:pt x="73207" y="124111"/>
                </a:lnTo>
                <a:lnTo>
                  <a:pt x="76361" y="134809"/>
                </a:lnTo>
                <a:lnTo>
                  <a:pt x="113320" y="175624"/>
                </a:lnTo>
                <a:lnTo>
                  <a:pt x="142498" y="205093"/>
                </a:lnTo>
                <a:lnTo>
                  <a:pt x="157714" y="215428"/>
                </a:lnTo>
                <a:lnTo>
                  <a:pt x="164602" y="219584"/>
                </a:lnTo>
                <a:lnTo>
                  <a:pt x="177146" y="210891"/>
                </a:lnTo>
                <a:lnTo>
                  <a:pt x="182855" y="206373"/>
                </a:lnTo>
                <a:lnTo>
                  <a:pt x="187868" y="201271"/>
                </a:lnTo>
                <a:lnTo>
                  <a:pt x="191379" y="193600"/>
                </a:lnTo>
                <a:lnTo>
                  <a:pt x="191337" y="185578"/>
                </a:lnTo>
                <a:lnTo>
                  <a:pt x="168050" y="155237"/>
                </a:lnTo>
                <a:lnTo>
                  <a:pt x="137351" y="124111"/>
                </a:lnTo>
                <a:lnTo>
                  <a:pt x="107944" y="98185"/>
                </a:lnTo>
                <a:lnTo>
                  <a:pt x="93934" y="96960"/>
                </a:lnTo>
                <a:close/>
              </a:path>
              <a:path w="697865" h="737235">
                <a:moveTo>
                  <a:pt x="599144" y="97127"/>
                </a:moveTo>
                <a:lnTo>
                  <a:pt x="593290" y="97264"/>
                </a:lnTo>
                <a:lnTo>
                  <a:pt x="582286" y="99421"/>
                </a:lnTo>
                <a:lnTo>
                  <a:pt x="577113" y="101400"/>
                </a:lnTo>
                <a:lnTo>
                  <a:pt x="574066" y="104447"/>
                </a:lnTo>
                <a:lnTo>
                  <a:pt x="557073" y="119539"/>
                </a:lnTo>
                <a:lnTo>
                  <a:pt x="524877" y="151644"/>
                </a:lnTo>
                <a:lnTo>
                  <a:pt x="499991" y="187443"/>
                </a:lnTo>
                <a:lnTo>
                  <a:pt x="501936" y="197038"/>
                </a:lnTo>
                <a:lnTo>
                  <a:pt x="508099" y="205847"/>
                </a:lnTo>
                <a:lnTo>
                  <a:pt x="516987" y="212538"/>
                </a:lnTo>
                <a:lnTo>
                  <a:pt x="526827" y="214439"/>
                </a:lnTo>
                <a:lnTo>
                  <a:pt x="537122" y="211764"/>
                </a:lnTo>
                <a:lnTo>
                  <a:pt x="578335" y="173638"/>
                </a:lnTo>
                <a:lnTo>
                  <a:pt x="608369" y="142582"/>
                </a:lnTo>
                <a:lnTo>
                  <a:pt x="617748" y="127353"/>
                </a:lnTo>
                <a:lnTo>
                  <a:pt x="621729" y="120478"/>
                </a:lnTo>
                <a:lnTo>
                  <a:pt x="616627" y="114261"/>
                </a:lnTo>
                <a:lnTo>
                  <a:pt x="612101" y="107571"/>
                </a:lnTo>
                <a:lnTo>
                  <a:pt x="607812" y="101805"/>
                </a:lnTo>
                <a:lnTo>
                  <a:pt x="603416" y="98363"/>
                </a:lnTo>
                <a:lnTo>
                  <a:pt x="599144" y="97127"/>
                </a:lnTo>
                <a:close/>
              </a:path>
              <a:path w="697865" h="737235">
                <a:moveTo>
                  <a:pt x="415851" y="597772"/>
                </a:moveTo>
                <a:lnTo>
                  <a:pt x="286619" y="597772"/>
                </a:lnTo>
                <a:lnTo>
                  <a:pt x="274126" y="599704"/>
                </a:lnTo>
                <a:lnTo>
                  <a:pt x="264496" y="605054"/>
                </a:lnTo>
                <a:lnTo>
                  <a:pt x="258299" y="613153"/>
                </a:lnTo>
                <a:lnTo>
                  <a:pt x="256107" y="623331"/>
                </a:lnTo>
                <a:lnTo>
                  <a:pt x="258299" y="634430"/>
                </a:lnTo>
                <a:lnTo>
                  <a:pt x="264496" y="643379"/>
                </a:lnTo>
                <a:lnTo>
                  <a:pt x="274126" y="649354"/>
                </a:lnTo>
                <a:lnTo>
                  <a:pt x="286619" y="651529"/>
                </a:lnTo>
                <a:lnTo>
                  <a:pt x="415851" y="651529"/>
                </a:lnTo>
                <a:lnTo>
                  <a:pt x="428331" y="649598"/>
                </a:lnTo>
                <a:lnTo>
                  <a:pt x="437963" y="644251"/>
                </a:lnTo>
                <a:lnTo>
                  <a:pt x="444166" y="636161"/>
                </a:lnTo>
                <a:lnTo>
                  <a:pt x="446363" y="626001"/>
                </a:lnTo>
                <a:lnTo>
                  <a:pt x="444166" y="614898"/>
                </a:lnTo>
                <a:lnTo>
                  <a:pt x="437963" y="605938"/>
                </a:lnTo>
                <a:lnTo>
                  <a:pt x="428331" y="599952"/>
                </a:lnTo>
                <a:lnTo>
                  <a:pt x="415851" y="597772"/>
                </a:lnTo>
                <a:close/>
              </a:path>
              <a:path w="697865" h="737235">
                <a:moveTo>
                  <a:pt x="388019" y="683183"/>
                </a:moveTo>
                <a:lnTo>
                  <a:pt x="307194" y="683183"/>
                </a:lnTo>
                <a:lnTo>
                  <a:pt x="296336" y="685807"/>
                </a:lnTo>
                <a:lnTo>
                  <a:pt x="287904" y="691486"/>
                </a:lnTo>
                <a:lnTo>
                  <a:pt x="282445" y="699686"/>
                </a:lnTo>
                <a:lnTo>
                  <a:pt x="280504" y="709873"/>
                </a:lnTo>
                <a:lnTo>
                  <a:pt x="283130" y="719571"/>
                </a:lnTo>
                <a:lnTo>
                  <a:pt x="327546" y="736467"/>
                </a:lnTo>
                <a:lnTo>
                  <a:pt x="348176" y="736697"/>
                </a:lnTo>
                <a:lnTo>
                  <a:pt x="368804" y="736467"/>
                </a:lnTo>
                <a:lnTo>
                  <a:pt x="408445" y="727742"/>
                </a:lnTo>
                <a:lnTo>
                  <a:pt x="415851" y="708711"/>
                </a:lnTo>
                <a:lnTo>
                  <a:pt x="413731" y="699240"/>
                </a:lnTo>
                <a:lnTo>
                  <a:pt x="407880" y="691380"/>
                </a:lnTo>
                <a:lnTo>
                  <a:pt x="399056" y="685804"/>
                </a:lnTo>
                <a:lnTo>
                  <a:pt x="388019" y="683183"/>
                </a:lnTo>
                <a:close/>
              </a:path>
            </a:pathLst>
          </a:custGeom>
          <a:solidFill>
            <a:srgbClr val="FFFFFF"/>
          </a:solidFill>
        </p:spPr>
        <p:txBody>
          <a:bodyPr wrap="square" lIns="0" tIns="0" rIns="0" bIns="0" rtlCol="0"/>
          <a:lstStyle/>
          <a:p>
            <a:pPr defTabSz="554492"/>
            <a:endParaRPr sz="1092">
              <a:solidFill>
                <a:prstClr val="black"/>
              </a:solidFill>
            </a:endParaRPr>
          </a:p>
        </p:txBody>
      </p:sp>
      <p:sp>
        <p:nvSpPr>
          <p:cNvPr id="40" name="object 40"/>
          <p:cNvSpPr/>
          <p:nvPr/>
        </p:nvSpPr>
        <p:spPr>
          <a:xfrm>
            <a:off x="2968279" y="2829396"/>
            <a:ext cx="0" cy="1320386"/>
          </a:xfrm>
          <a:custGeom>
            <a:avLst/>
            <a:gdLst/>
            <a:ahLst/>
            <a:cxnLst/>
            <a:rect l="l" t="t" r="r" b="b"/>
            <a:pathLst>
              <a:path h="2177415">
                <a:moveTo>
                  <a:pt x="0" y="2177153"/>
                </a:moveTo>
                <a:lnTo>
                  <a:pt x="0" y="0"/>
                </a:lnTo>
              </a:path>
            </a:pathLst>
          </a:custGeom>
          <a:ln w="20941">
            <a:solidFill>
              <a:srgbClr val="FFFFFF"/>
            </a:solidFill>
          </a:ln>
        </p:spPr>
        <p:txBody>
          <a:bodyPr wrap="square" lIns="0" tIns="0" rIns="0" bIns="0" rtlCol="0"/>
          <a:lstStyle/>
          <a:p>
            <a:pPr defTabSz="554492"/>
            <a:endParaRPr sz="1092">
              <a:solidFill>
                <a:prstClr val="black"/>
              </a:solidFill>
            </a:endParaRPr>
          </a:p>
        </p:txBody>
      </p:sp>
      <p:sp>
        <p:nvSpPr>
          <p:cNvPr id="41" name="object 41"/>
          <p:cNvSpPr/>
          <p:nvPr/>
        </p:nvSpPr>
        <p:spPr>
          <a:xfrm>
            <a:off x="2853994" y="4085652"/>
            <a:ext cx="228728" cy="228728"/>
          </a:xfrm>
          <a:custGeom>
            <a:avLst/>
            <a:gdLst/>
            <a:ahLst/>
            <a:cxnLst/>
            <a:rect l="l" t="t" r="r" b="b"/>
            <a:pathLst>
              <a:path w="377189" h="377190">
                <a:moveTo>
                  <a:pt x="188475" y="0"/>
                </a:moveTo>
                <a:lnTo>
                  <a:pt x="138372" y="6732"/>
                </a:lnTo>
                <a:lnTo>
                  <a:pt x="93349" y="25732"/>
                </a:lnTo>
                <a:lnTo>
                  <a:pt x="55203" y="55203"/>
                </a:lnTo>
                <a:lnTo>
                  <a:pt x="25732" y="93349"/>
                </a:lnTo>
                <a:lnTo>
                  <a:pt x="6732" y="138372"/>
                </a:lnTo>
                <a:lnTo>
                  <a:pt x="0" y="188475"/>
                </a:lnTo>
                <a:lnTo>
                  <a:pt x="6732" y="238583"/>
                </a:lnTo>
                <a:lnTo>
                  <a:pt x="25732" y="283607"/>
                </a:lnTo>
                <a:lnTo>
                  <a:pt x="55203" y="321751"/>
                </a:lnTo>
                <a:lnTo>
                  <a:pt x="93349" y="351221"/>
                </a:lnTo>
                <a:lnTo>
                  <a:pt x="138372" y="370219"/>
                </a:lnTo>
                <a:lnTo>
                  <a:pt x="188475" y="376951"/>
                </a:lnTo>
                <a:lnTo>
                  <a:pt x="238579" y="370219"/>
                </a:lnTo>
                <a:lnTo>
                  <a:pt x="283602" y="351221"/>
                </a:lnTo>
                <a:lnTo>
                  <a:pt x="321748" y="321751"/>
                </a:lnTo>
                <a:lnTo>
                  <a:pt x="351219" y="283607"/>
                </a:lnTo>
                <a:lnTo>
                  <a:pt x="370219" y="238583"/>
                </a:lnTo>
                <a:lnTo>
                  <a:pt x="376951" y="188475"/>
                </a:lnTo>
                <a:lnTo>
                  <a:pt x="370219" y="138372"/>
                </a:lnTo>
                <a:lnTo>
                  <a:pt x="351219" y="93349"/>
                </a:lnTo>
                <a:lnTo>
                  <a:pt x="321748" y="55203"/>
                </a:lnTo>
                <a:lnTo>
                  <a:pt x="283602" y="25732"/>
                </a:lnTo>
                <a:lnTo>
                  <a:pt x="238579" y="6732"/>
                </a:lnTo>
                <a:lnTo>
                  <a:pt x="188475"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42" name="object 42"/>
          <p:cNvSpPr/>
          <p:nvPr/>
        </p:nvSpPr>
        <p:spPr>
          <a:xfrm>
            <a:off x="2853994" y="4085652"/>
            <a:ext cx="228728" cy="228728"/>
          </a:xfrm>
          <a:custGeom>
            <a:avLst/>
            <a:gdLst/>
            <a:ahLst/>
            <a:cxnLst/>
            <a:rect l="l" t="t" r="r" b="b"/>
            <a:pathLst>
              <a:path w="377189" h="377190">
                <a:moveTo>
                  <a:pt x="0" y="188476"/>
                </a:moveTo>
                <a:lnTo>
                  <a:pt x="6732" y="138371"/>
                </a:lnTo>
                <a:lnTo>
                  <a:pt x="25732" y="93348"/>
                </a:lnTo>
                <a:lnTo>
                  <a:pt x="55203" y="55203"/>
                </a:lnTo>
                <a:lnTo>
                  <a:pt x="93348" y="25732"/>
                </a:lnTo>
                <a:lnTo>
                  <a:pt x="138371" y="6732"/>
                </a:lnTo>
                <a:lnTo>
                  <a:pt x="188476" y="0"/>
                </a:lnTo>
                <a:lnTo>
                  <a:pt x="238580" y="6732"/>
                </a:lnTo>
                <a:lnTo>
                  <a:pt x="283603" y="25732"/>
                </a:lnTo>
                <a:lnTo>
                  <a:pt x="321749" y="55203"/>
                </a:lnTo>
                <a:lnTo>
                  <a:pt x="351220" y="93348"/>
                </a:lnTo>
                <a:lnTo>
                  <a:pt x="370220" y="138371"/>
                </a:lnTo>
                <a:lnTo>
                  <a:pt x="376952" y="188476"/>
                </a:lnTo>
                <a:lnTo>
                  <a:pt x="370220" y="238580"/>
                </a:lnTo>
                <a:lnTo>
                  <a:pt x="351220" y="283603"/>
                </a:lnTo>
                <a:lnTo>
                  <a:pt x="321749" y="321749"/>
                </a:lnTo>
                <a:lnTo>
                  <a:pt x="283603" y="351220"/>
                </a:lnTo>
                <a:lnTo>
                  <a:pt x="238580" y="370220"/>
                </a:lnTo>
                <a:lnTo>
                  <a:pt x="188476" y="376952"/>
                </a:lnTo>
                <a:lnTo>
                  <a:pt x="138371" y="370220"/>
                </a:lnTo>
                <a:lnTo>
                  <a:pt x="93348" y="351220"/>
                </a:lnTo>
                <a:lnTo>
                  <a:pt x="55203" y="321749"/>
                </a:lnTo>
                <a:lnTo>
                  <a:pt x="25732" y="283603"/>
                </a:lnTo>
                <a:lnTo>
                  <a:pt x="6732" y="238580"/>
                </a:lnTo>
                <a:lnTo>
                  <a:pt x="0" y="188476"/>
                </a:lnTo>
                <a:close/>
              </a:path>
            </a:pathLst>
          </a:custGeom>
          <a:ln w="73296">
            <a:solidFill>
              <a:srgbClr val="FFFFFF"/>
            </a:solidFill>
          </a:ln>
        </p:spPr>
        <p:txBody>
          <a:bodyPr wrap="square" lIns="0" tIns="0" rIns="0" bIns="0" rtlCol="0"/>
          <a:lstStyle/>
          <a:p>
            <a:pPr defTabSz="554492"/>
            <a:endParaRPr sz="1092">
              <a:solidFill>
                <a:prstClr val="black"/>
              </a:solidFill>
            </a:endParaRPr>
          </a:p>
        </p:txBody>
      </p:sp>
      <p:sp>
        <p:nvSpPr>
          <p:cNvPr id="43" name="object 43"/>
          <p:cNvSpPr/>
          <p:nvPr/>
        </p:nvSpPr>
        <p:spPr>
          <a:xfrm>
            <a:off x="2617664" y="2547771"/>
            <a:ext cx="685800" cy="685800"/>
          </a:xfrm>
          <a:custGeom>
            <a:avLst/>
            <a:gdLst/>
            <a:ahLst/>
            <a:cxnLst/>
            <a:rect l="l" t="t" r="r" b="b"/>
            <a:pathLst>
              <a:path w="1130935" h="1130935">
                <a:moveTo>
                  <a:pt x="565427" y="0"/>
                </a:moveTo>
                <a:lnTo>
                  <a:pt x="516641" y="2075"/>
                </a:lnTo>
                <a:lnTo>
                  <a:pt x="469006" y="8188"/>
                </a:lnTo>
                <a:lnTo>
                  <a:pt x="422694" y="18169"/>
                </a:lnTo>
                <a:lnTo>
                  <a:pt x="377873" y="31848"/>
                </a:lnTo>
                <a:lnTo>
                  <a:pt x="334714" y="49056"/>
                </a:lnTo>
                <a:lnTo>
                  <a:pt x="293386" y="69623"/>
                </a:lnTo>
                <a:lnTo>
                  <a:pt x="254060" y="93379"/>
                </a:lnTo>
                <a:lnTo>
                  <a:pt x="216904" y="120154"/>
                </a:lnTo>
                <a:lnTo>
                  <a:pt x="182088" y="149779"/>
                </a:lnTo>
                <a:lnTo>
                  <a:pt x="149783" y="182084"/>
                </a:lnTo>
                <a:lnTo>
                  <a:pt x="120157" y="216899"/>
                </a:lnTo>
                <a:lnTo>
                  <a:pt x="93381" y="254055"/>
                </a:lnTo>
                <a:lnTo>
                  <a:pt x="69625" y="293382"/>
                </a:lnTo>
                <a:lnTo>
                  <a:pt x="49058" y="334710"/>
                </a:lnTo>
                <a:lnTo>
                  <a:pt x="31849" y="377869"/>
                </a:lnTo>
                <a:lnTo>
                  <a:pt x="18170" y="422690"/>
                </a:lnTo>
                <a:lnTo>
                  <a:pt x="8188" y="469004"/>
                </a:lnTo>
                <a:lnTo>
                  <a:pt x="2075" y="516639"/>
                </a:lnTo>
                <a:lnTo>
                  <a:pt x="0" y="565427"/>
                </a:lnTo>
                <a:lnTo>
                  <a:pt x="2075" y="614214"/>
                </a:lnTo>
                <a:lnTo>
                  <a:pt x="8188" y="661848"/>
                </a:lnTo>
                <a:lnTo>
                  <a:pt x="18170" y="708161"/>
                </a:lnTo>
                <a:lnTo>
                  <a:pt x="31849" y="752981"/>
                </a:lnTo>
                <a:lnTo>
                  <a:pt x="49058" y="796140"/>
                </a:lnTo>
                <a:lnTo>
                  <a:pt x="69625" y="837468"/>
                </a:lnTo>
                <a:lnTo>
                  <a:pt x="93381" y="876795"/>
                </a:lnTo>
                <a:lnTo>
                  <a:pt x="120157" y="913951"/>
                </a:lnTo>
                <a:lnTo>
                  <a:pt x="149783" y="948767"/>
                </a:lnTo>
                <a:lnTo>
                  <a:pt x="182088" y="981072"/>
                </a:lnTo>
                <a:lnTo>
                  <a:pt x="216904" y="1010697"/>
                </a:lnTo>
                <a:lnTo>
                  <a:pt x="254060" y="1037473"/>
                </a:lnTo>
                <a:lnTo>
                  <a:pt x="293386" y="1061230"/>
                </a:lnTo>
                <a:lnTo>
                  <a:pt x="334714" y="1081797"/>
                </a:lnTo>
                <a:lnTo>
                  <a:pt x="377873" y="1099005"/>
                </a:lnTo>
                <a:lnTo>
                  <a:pt x="422694" y="1112685"/>
                </a:lnTo>
                <a:lnTo>
                  <a:pt x="469006" y="1122666"/>
                </a:lnTo>
                <a:lnTo>
                  <a:pt x="516641" y="1128780"/>
                </a:lnTo>
                <a:lnTo>
                  <a:pt x="565427" y="1130855"/>
                </a:lnTo>
                <a:lnTo>
                  <a:pt x="614216" y="1128780"/>
                </a:lnTo>
                <a:lnTo>
                  <a:pt x="661851" y="1122666"/>
                </a:lnTo>
                <a:lnTo>
                  <a:pt x="708165" y="1112685"/>
                </a:lnTo>
                <a:lnTo>
                  <a:pt x="752987" y="1099005"/>
                </a:lnTo>
                <a:lnTo>
                  <a:pt x="796147" y="1081797"/>
                </a:lnTo>
                <a:lnTo>
                  <a:pt x="837475" y="1061230"/>
                </a:lnTo>
                <a:lnTo>
                  <a:pt x="876803" y="1037473"/>
                </a:lnTo>
                <a:lnTo>
                  <a:pt x="913959" y="1010697"/>
                </a:lnTo>
                <a:lnTo>
                  <a:pt x="948776" y="981072"/>
                </a:lnTo>
                <a:lnTo>
                  <a:pt x="981081" y="948767"/>
                </a:lnTo>
                <a:lnTo>
                  <a:pt x="1010707" y="913951"/>
                </a:lnTo>
                <a:lnTo>
                  <a:pt x="1037483" y="876795"/>
                </a:lnTo>
                <a:lnTo>
                  <a:pt x="1061240" y="837468"/>
                </a:lnTo>
                <a:lnTo>
                  <a:pt x="1081807" y="796140"/>
                </a:lnTo>
                <a:lnTo>
                  <a:pt x="1099016" y="752981"/>
                </a:lnTo>
                <a:lnTo>
                  <a:pt x="1112695" y="708161"/>
                </a:lnTo>
                <a:lnTo>
                  <a:pt x="1122677" y="661848"/>
                </a:lnTo>
                <a:lnTo>
                  <a:pt x="1128790" y="614214"/>
                </a:lnTo>
                <a:lnTo>
                  <a:pt x="1130866" y="565427"/>
                </a:lnTo>
                <a:lnTo>
                  <a:pt x="1128790" y="516639"/>
                </a:lnTo>
                <a:lnTo>
                  <a:pt x="1122677" y="469004"/>
                </a:lnTo>
                <a:lnTo>
                  <a:pt x="1112695" y="422690"/>
                </a:lnTo>
                <a:lnTo>
                  <a:pt x="1099016" y="377869"/>
                </a:lnTo>
                <a:lnTo>
                  <a:pt x="1081807" y="334710"/>
                </a:lnTo>
                <a:lnTo>
                  <a:pt x="1061240" y="293382"/>
                </a:lnTo>
                <a:lnTo>
                  <a:pt x="1037483" y="254055"/>
                </a:lnTo>
                <a:lnTo>
                  <a:pt x="1010707" y="216899"/>
                </a:lnTo>
                <a:lnTo>
                  <a:pt x="981081" y="182084"/>
                </a:lnTo>
                <a:lnTo>
                  <a:pt x="948776" y="149779"/>
                </a:lnTo>
                <a:lnTo>
                  <a:pt x="913959" y="120154"/>
                </a:lnTo>
                <a:lnTo>
                  <a:pt x="876803" y="93379"/>
                </a:lnTo>
                <a:lnTo>
                  <a:pt x="837475" y="69623"/>
                </a:lnTo>
                <a:lnTo>
                  <a:pt x="796147" y="49056"/>
                </a:lnTo>
                <a:lnTo>
                  <a:pt x="752987" y="31848"/>
                </a:lnTo>
                <a:lnTo>
                  <a:pt x="708165" y="18169"/>
                </a:lnTo>
                <a:lnTo>
                  <a:pt x="661851" y="8188"/>
                </a:lnTo>
                <a:lnTo>
                  <a:pt x="614216" y="2075"/>
                </a:lnTo>
                <a:lnTo>
                  <a:pt x="565427"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44" name="object 44"/>
          <p:cNvSpPr/>
          <p:nvPr/>
        </p:nvSpPr>
        <p:spPr>
          <a:xfrm>
            <a:off x="2773178" y="2699530"/>
            <a:ext cx="375053" cy="382369"/>
          </a:xfrm>
          <a:custGeom>
            <a:avLst/>
            <a:gdLst/>
            <a:ahLst/>
            <a:cxnLst/>
            <a:rect l="l" t="t" r="r" b="b"/>
            <a:pathLst>
              <a:path w="618489" h="630554">
                <a:moveTo>
                  <a:pt x="307497" y="0"/>
                </a:moveTo>
                <a:lnTo>
                  <a:pt x="222268" y="12944"/>
                </a:lnTo>
                <a:lnTo>
                  <a:pt x="175024" y="30831"/>
                </a:lnTo>
                <a:lnTo>
                  <a:pt x="131997" y="56105"/>
                </a:lnTo>
                <a:lnTo>
                  <a:pt x="93289" y="88819"/>
                </a:lnTo>
                <a:lnTo>
                  <a:pt x="58999" y="129026"/>
                </a:lnTo>
                <a:lnTo>
                  <a:pt x="33206" y="170872"/>
                </a:lnTo>
                <a:lnTo>
                  <a:pt x="14834" y="214659"/>
                </a:lnTo>
                <a:lnTo>
                  <a:pt x="3830" y="260121"/>
                </a:lnTo>
                <a:lnTo>
                  <a:pt x="0" y="307570"/>
                </a:lnTo>
                <a:lnTo>
                  <a:pt x="3357" y="356453"/>
                </a:lnTo>
                <a:lnTo>
                  <a:pt x="3445" y="361731"/>
                </a:lnTo>
                <a:lnTo>
                  <a:pt x="6645" y="363626"/>
                </a:lnTo>
                <a:lnTo>
                  <a:pt x="76800" y="363626"/>
                </a:lnTo>
                <a:lnTo>
                  <a:pt x="77589" y="362673"/>
                </a:lnTo>
                <a:lnTo>
                  <a:pt x="77577" y="361469"/>
                </a:lnTo>
                <a:lnTo>
                  <a:pt x="73778" y="331539"/>
                </a:lnTo>
                <a:lnTo>
                  <a:pt x="73005" y="309150"/>
                </a:lnTo>
                <a:lnTo>
                  <a:pt x="74387" y="286766"/>
                </a:lnTo>
                <a:lnTo>
                  <a:pt x="77973" y="264184"/>
                </a:lnTo>
                <a:lnTo>
                  <a:pt x="79030" y="258927"/>
                </a:lnTo>
                <a:lnTo>
                  <a:pt x="80925" y="256969"/>
                </a:lnTo>
                <a:lnTo>
                  <a:pt x="206524" y="256969"/>
                </a:lnTo>
                <a:lnTo>
                  <a:pt x="206576" y="255975"/>
                </a:lnTo>
                <a:lnTo>
                  <a:pt x="612876" y="255975"/>
                </a:lnTo>
                <a:lnTo>
                  <a:pt x="612695" y="254221"/>
                </a:lnTo>
                <a:lnTo>
                  <a:pt x="599463" y="205605"/>
                </a:lnTo>
                <a:lnTo>
                  <a:pt x="597549" y="201348"/>
                </a:lnTo>
                <a:lnTo>
                  <a:pt x="98904" y="201348"/>
                </a:lnTo>
                <a:lnTo>
                  <a:pt x="118587" y="170334"/>
                </a:lnTo>
                <a:lnTo>
                  <a:pt x="141685" y="143168"/>
                </a:lnTo>
                <a:lnTo>
                  <a:pt x="168510" y="119734"/>
                </a:lnTo>
                <a:lnTo>
                  <a:pt x="199372" y="99917"/>
                </a:lnTo>
                <a:lnTo>
                  <a:pt x="268497" y="99917"/>
                </a:lnTo>
                <a:lnTo>
                  <a:pt x="280836" y="87153"/>
                </a:lnTo>
                <a:lnTo>
                  <a:pt x="523565" y="87153"/>
                </a:lnTo>
                <a:lnTo>
                  <a:pt x="522859" y="86369"/>
                </a:lnTo>
                <a:lnTo>
                  <a:pt x="487836" y="57528"/>
                </a:lnTo>
                <a:lnTo>
                  <a:pt x="449069" y="34059"/>
                </a:lnTo>
                <a:lnTo>
                  <a:pt x="407406" y="16385"/>
                </a:lnTo>
                <a:lnTo>
                  <a:pt x="363694" y="4931"/>
                </a:lnTo>
                <a:lnTo>
                  <a:pt x="318782" y="119"/>
                </a:lnTo>
                <a:lnTo>
                  <a:pt x="307497" y="0"/>
                </a:lnTo>
                <a:close/>
              </a:path>
              <a:path w="618489" h="630554">
                <a:moveTo>
                  <a:pt x="612876" y="255975"/>
                </a:moveTo>
                <a:lnTo>
                  <a:pt x="465395" y="255975"/>
                </a:lnTo>
                <a:lnTo>
                  <a:pt x="499515" y="256079"/>
                </a:lnTo>
                <a:lnTo>
                  <a:pt x="517014" y="256372"/>
                </a:lnTo>
                <a:lnTo>
                  <a:pt x="534419" y="256969"/>
                </a:lnTo>
                <a:lnTo>
                  <a:pt x="536524" y="256969"/>
                </a:lnTo>
                <a:lnTo>
                  <a:pt x="539655" y="261084"/>
                </a:lnTo>
                <a:lnTo>
                  <a:pt x="539655" y="263189"/>
                </a:lnTo>
                <a:lnTo>
                  <a:pt x="543203" y="285940"/>
                </a:lnTo>
                <a:lnTo>
                  <a:pt x="544410" y="307570"/>
                </a:lnTo>
                <a:lnTo>
                  <a:pt x="544452" y="309150"/>
                </a:lnTo>
                <a:lnTo>
                  <a:pt x="543580" y="331388"/>
                </a:lnTo>
                <a:lnTo>
                  <a:pt x="540650" y="354139"/>
                </a:lnTo>
                <a:lnTo>
                  <a:pt x="539603" y="361469"/>
                </a:lnTo>
                <a:lnTo>
                  <a:pt x="540775" y="363626"/>
                </a:lnTo>
                <a:lnTo>
                  <a:pt x="611726" y="363626"/>
                </a:lnTo>
                <a:lnTo>
                  <a:pt x="613862" y="361731"/>
                </a:lnTo>
                <a:lnTo>
                  <a:pt x="614909" y="355459"/>
                </a:lnTo>
                <a:lnTo>
                  <a:pt x="617877" y="304210"/>
                </a:lnTo>
                <a:lnTo>
                  <a:pt x="612876" y="255975"/>
                </a:lnTo>
                <a:close/>
              </a:path>
              <a:path w="618489" h="630554">
                <a:moveTo>
                  <a:pt x="465395" y="256969"/>
                </a:moveTo>
                <a:lnTo>
                  <a:pt x="409764" y="256969"/>
                </a:lnTo>
                <a:lnTo>
                  <a:pt x="411978" y="281127"/>
                </a:lnTo>
                <a:lnTo>
                  <a:pt x="412469" y="299661"/>
                </a:lnTo>
                <a:lnTo>
                  <a:pt x="412512" y="309150"/>
                </a:lnTo>
                <a:lnTo>
                  <a:pt x="412058" y="328618"/>
                </a:lnTo>
                <a:lnTo>
                  <a:pt x="410727" y="352181"/>
                </a:lnTo>
                <a:lnTo>
                  <a:pt x="409717" y="361469"/>
                </a:lnTo>
                <a:lnTo>
                  <a:pt x="409764" y="362673"/>
                </a:lnTo>
                <a:lnTo>
                  <a:pt x="464348" y="362725"/>
                </a:lnTo>
                <a:lnTo>
                  <a:pt x="465308" y="352181"/>
                </a:lnTo>
                <a:lnTo>
                  <a:pt x="465395" y="256969"/>
                </a:lnTo>
                <a:close/>
              </a:path>
              <a:path w="618489" h="630554">
                <a:moveTo>
                  <a:pt x="206524" y="256969"/>
                </a:moveTo>
                <a:lnTo>
                  <a:pt x="153227" y="256969"/>
                </a:lnTo>
                <a:lnTo>
                  <a:pt x="152169" y="260121"/>
                </a:lnTo>
                <a:lnTo>
                  <a:pt x="152229" y="359396"/>
                </a:lnTo>
                <a:lnTo>
                  <a:pt x="152117" y="362673"/>
                </a:lnTo>
                <a:lnTo>
                  <a:pt x="205644" y="362673"/>
                </a:lnTo>
                <a:lnTo>
                  <a:pt x="206543" y="359511"/>
                </a:lnTo>
                <a:lnTo>
                  <a:pt x="206576" y="354139"/>
                </a:lnTo>
                <a:lnTo>
                  <a:pt x="205828" y="344132"/>
                </a:lnTo>
                <a:lnTo>
                  <a:pt x="205204" y="334356"/>
                </a:lnTo>
                <a:lnTo>
                  <a:pt x="204777" y="324574"/>
                </a:lnTo>
                <a:lnTo>
                  <a:pt x="204777" y="299661"/>
                </a:lnTo>
                <a:lnTo>
                  <a:pt x="205204" y="284881"/>
                </a:lnTo>
                <a:lnTo>
                  <a:pt x="205828" y="270291"/>
                </a:lnTo>
                <a:lnTo>
                  <a:pt x="206524" y="256969"/>
                </a:lnTo>
                <a:close/>
              </a:path>
              <a:path w="618489" h="630554">
                <a:moveTo>
                  <a:pt x="465395" y="255975"/>
                </a:moveTo>
                <a:lnTo>
                  <a:pt x="280836" y="255975"/>
                </a:lnTo>
                <a:lnTo>
                  <a:pt x="280836" y="359511"/>
                </a:lnTo>
                <a:lnTo>
                  <a:pt x="282940" y="362673"/>
                </a:lnTo>
                <a:lnTo>
                  <a:pt x="291317" y="362673"/>
                </a:lnTo>
                <a:lnTo>
                  <a:pt x="299970" y="362078"/>
                </a:lnTo>
                <a:lnTo>
                  <a:pt x="308651" y="361880"/>
                </a:lnTo>
                <a:lnTo>
                  <a:pt x="334891" y="361880"/>
                </a:lnTo>
                <a:lnTo>
                  <a:pt x="336467" y="359511"/>
                </a:lnTo>
                <a:lnTo>
                  <a:pt x="336467" y="256969"/>
                </a:lnTo>
                <a:lnTo>
                  <a:pt x="465395" y="256969"/>
                </a:lnTo>
                <a:lnTo>
                  <a:pt x="465395" y="255975"/>
                </a:lnTo>
                <a:close/>
              </a:path>
              <a:path w="618489" h="630554">
                <a:moveTo>
                  <a:pt x="334891" y="361880"/>
                </a:moveTo>
                <a:lnTo>
                  <a:pt x="308651" y="361880"/>
                </a:lnTo>
                <a:lnTo>
                  <a:pt x="317332" y="362078"/>
                </a:lnTo>
                <a:lnTo>
                  <a:pt x="325986" y="362673"/>
                </a:lnTo>
                <a:lnTo>
                  <a:pt x="334363" y="362673"/>
                </a:lnTo>
                <a:lnTo>
                  <a:pt x="334891" y="361880"/>
                </a:lnTo>
                <a:close/>
              </a:path>
              <a:path w="618489" h="630554">
                <a:moveTo>
                  <a:pt x="268497" y="99917"/>
                </a:moveTo>
                <a:lnTo>
                  <a:pt x="199372" y="99917"/>
                </a:lnTo>
                <a:lnTo>
                  <a:pt x="196051" y="107234"/>
                </a:lnTo>
                <a:lnTo>
                  <a:pt x="189334" y="119922"/>
                </a:lnTo>
                <a:lnTo>
                  <a:pt x="174687" y="159940"/>
                </a:lnTo>
                <a:lnTo>
                  <a:pt x="162651" y="199390"/>
                </a:lnTo>
                <a:lnTo>
                  <a:pt x="160431" y="201348"/>
                </a:lnTo>
                <a:lnTo>
                  <a:pt x="517729" y="201348"/>
                </a:lnTo>
                <a:lnTo>
                  <a:pt x="487399" y="201247"/>
                </a:lnTo>
                <a:lnTo>
                  <a:pt x="472655" y="200955"/>
                </a:lnTo>
                <a:lnTo>
                  <a:pt x="457846" y="200353"/>
                </a:lnTo>
                <a:lnTo>
                  <a:pt x="218031" y="200353"/>
                </a:lnTo>
                <a:lnTo>
                  <a:pt x="227548" y="168829"/>
                </a:lnTo>
                <a:lnTo>
                  <a:pt x="240013" y="139045"/>
                </a:lnTo>
                <a:lnTo>
                  <a:pt x="257188" y="111615"/>
                </a:lnTo>
                <a:lnTo>
                  <a:pt x="268497" y="99917"/>
                </a:lnTo>
                <a:close/>
              </a:path>
              <a:path w="618489" h="630554">
                <a:moveTo>
                  <a:pt x="535927" y="100880"/>
                </a:moveTo>
                <a:lnTo>
                  <a:pt x="416967" y="100880"/>
                </a:lnTo>
                <a:lnTo>
                  <a:pt x="447879" y="120113"/>
                </a:lnTo>
                <a:lnTo>
                  <a:pt x="474813" y="143265"/>
                </a:lnTo>
                <a:lnTo>
                  <a:pt x="498014" y="170341"/>
                </a:lnTo>
                <a:lnTo>
                  <a:pt x="517729" y="201348"/>
                </a:lnTo>
                <a:lnTo>
                  <a:pt x="597549" y="201348"/>
                </a:lnTo>
                <a:lnTo>
                  <a:pt x="578282" y="158480"/>
                </a:lnTo>
                <a:lnTo>
                  <a:pt x="553248" y="120113"/>
                </a:lnTo>
                <a:lnTo>
                  <a:pt x="535927" y="100880"/>
                </a:lnTo>
                <a:close/>
              </a:path>
              <a:path w="618489" h="630554">
                <a:moveTo>
                  <a:pt x="523565" y="87153"/>
                </a:moveTo>
                <a:lnTo>
                  <a:pt x="280836" y="87153"/>
                </a:lnTo>
                <a:lnTo>
                  <a:pt x="280836" y="200353"/>
                </a:lnTo>
                <a:lnTo>
                  <a:pt x="335473" y="200353"/>
                </a:lnTo>
                <a:lnTo>
                  <a:pt x="335473" y="88441"/>
                </a:lnTo>
                <a:lnTo>
                  <a:pt x="524725" y="88441"/>
                </a:lnTo>
                <a:lnTo>
                  <a:pt x="523565" y="87153"/>
                </a:lnTo>
                <a:close/>
              </a:path>
              <a:path w="618489" h="630554">
                <a:moveTo>
                  <a:pt x="524725" y="88441"/>
                </a:moveTo>
                <a:lnTo>
                  <a:pt x="335473" y="88441"/>
                </a:lnTo>
                <a:lnTo>
                  <a:pt x="358995" y="112416"/>
                </a:lnTo>
                <a:lnTo>
                  <a:pt x="375935" y="139697"/>
                </a:lnTo>
                <a:lnTo>
                  <a:pt x="388355" y="169328"/>
                </a:lnTo>
                <a:lnTo>
                  <a:pt x="398319" y="200353"/>
                </a:lnTo>
                <a:lnTo>
                  <a:pt x="455762" y="200353"/>
                </a:lnTo>
                <a:lnTo>
                  <a:pt x="453657" y="198196"/>
                </a:lnTo>
                <a:lnTo>
                  <a:pt x="452631" y="196092"/>
                </a:lnTo>
                <a:lnTo>
                  <a:pt x="449003" y="184175"/>
                </a:lnTo>
                <a:lnTo>
                  <a:pt x="445654" y="172061"/>
                </a:lnTo>
                <a:lnTo>
                  <a:pt x="442111" y="159940"/>
                </a:lnTo>
                <a:lnTo>
                  <a:pt x="437899" y="147999"/>
                </a:lnTo>
                <a:lnTo>
                  <a:pt x="433449" y="136366"/>
                </a:lnTo>
                <a:lnTo>
                  <a:pt x="428215" y="124832"/>
                </a:lnTo>
                <a:lnTo>
                  <a:pt x="422590" y="113101"/>
                </a:lnTo>
                <a:lnTo>
                  <a:pt x="416967" y="100880"/>
                </a:lnTo>
                <a:lnTo>
                  <a:pt x="535927" y="100880"/>
                </a:lnTo>
                <a:lnTo>
                  <a:pt x="524725" y="88441"/>
                </a:lnTo>
                <a:close/>
              </a:path>
              <a:path w="618489" h="630554">
                <a:moveTo>
                  <a:pt x="107431" y="397879"/>
                </a:moveTo>
                <a:lnTo>
                  <a:pt x="97309" y="398077"/>
                </a:lnTo>
                <a:lnTo>
                  <a:pt x="87135" y="398672"/>
                </a:lnTo>
                <a:lnTo>
                  <a:pt x="78758" y="399688"/>
                </a:lnTo>
                <a:lnTo>
                  <a:pt x="73407" y="405007"/>
                </a:lnTo>
                <a:lnTo>
                  <a:pt x="73407" y="453299"/>
                </a:lnTo>
                <a:lnTo>
                  <a:pt x="74433" y="461675"/>
                </a:lnTo>
                <a:lnTo>
                  <a:pt x="79732" y="468010"/>
                </a:lnTo>
                <a:lnTo>
                  <a:pt x="136096" y="468010"/>
                </a:lnTo>
                <a:lnTo>
                  <a:pt x="142421" y="461675"/>
                </a:lnTo>
                <a:lnTo>
                  <a:pt x="142505" y="420713"/>
                </a:lnTo>
                <a:lnTo>
                  <a:pt x="141458" y="413384"/>
                </a:lnTo>
                <a:lnTo>
                  <a:pt x="141458" y="405007"/>
                </a:lnTo>
                <a:lnTo>
                  <a:pt x="136096" y="398672"/>
                </a:lnTo>
                <a:lnTo>
                  <a:pt x="127720" y="398672"/>
                </a:lnTo>
                <a:lnTo>
                  <a:pt x="117551" y="398077"/>
                </a:lnTo>
                <a:lnTo>
                  <a:pt x="107431" y="397879"/>
                </a:lnTo>
                <a:close/>
              </a:path>
              <a:path w="618489" h="630554">
                <a:moveTo>
                  <a:pt x="229329" y="398672"/>
                </a:moveTo>
                <a:lnTo>
                  <a:pt x="172996" y="398672"/>
                </a:lnTo>
                <a:lnTo>
                  <a:pt x="167635" y="405007"/>
                </a:lnTo>
                <a:lnTo>
                  <a:pt x="167635" y="460691"/>
                </a:lnTo>
                <a:lnTo>
                  <a:pt x="172933" y="466733"/>
                </a:lnTo>
                <a:lnTo>
                  <a:pt x="228418" y="466733"/>
                </a:lnTo>
                <a:lnTo>
                  <a:pt x="234722" y="461738"/>
                </a:lnTo>
                <a:lnTo>
                  <a:pt x="234722" y="405007"/>
                </a:lnTo>
                <a:lnTo>
                  <a:pt x="229329" y="398672"/>
                </a:lnTo>
                <a:close/>
              </a:path>
              <a:path w="618489" h="630554">
                <a:moveTo>
                  <a:pt x="201558" y="397879"/>
                </a:moveTo>
                <a:lnTo>
                  <a:pt x="191530" y="398077"/>
                </a:lnTo>
                <a:lnTo>
                  <a:pt x="181362" y="398672"/>
                </a:lnTo>
                <a:lnTo>
                  <a:pt x="220953" y="398672"/>
                </a:lnTo>
                <a:lnTo>
                  <a:pt x="211386" y="398077"/>
                </a:lnTo>
                <a:lnTo>
                  <a:pt x="201558" y="397879"/>
                </a:lnTo>
                <a:close/>
              </a:path>
              <a:path w="618489" h="630554">
                <a:moveTo>
                  <a:pt x="335033" y="398672"/>
                </a:moveTo>
                <a:lnTo>
                  <a:pt x="278668" y="398672"/>
                </a:lnTo>
                <a:lnTo>
                  <a:pt x="272406" y="404944"/>
                </a:lnTo>
                <a:lnTo>
                  <a:pt x="272344" y="453299"/>
                </a:lnTo>
                <a:lnTo>
                  <a:pt x="273370" y="462733"/>
                </a:lnTo>
                <a:lnTo>
                  <a:pt x="279663" y="468010"/>
                </a:lnTo>
                <a:lnTo>
                  <a:pt x="313306" y="468010"/>
                </a:lnTo>
                <a:lnTo>
                  <a:pt x="318405" y="467748"/>
                </a:lnTo>
                <a:lnTo>
                  <a:pt x="324698" y="466733"/>
                </a:lnTo>
                <a:lnTo>
                  <a:pt x="335158" y="466733"/>
                </a:lnTo>
                <a:lnTo>
                  <a:pt x="341357" y="461476"/>
                </a:lnTo>
                <a:lnTo>
                  <a:pt x="341357" y="414347"/>
                </a:lnTo>
                <a:lnTo>
                  <a:pt x="340342" y="404944"/>
                </a:lnTo>
                <a:lnTo>
                  <a:pt x="335033" y="398672"/>
                </a:lnTo>
                <a:close/>
              </a:path>
              <a:path w="618489" h="630554">
                <a:moveTo>
                  <a:pt x="307237" y="397879"/>
                </a:moveTo>
                <a:lnTo>
                  <a:pt x="297207" y="398077"/>
                </a:lnTo>
                <a:lnTo>
                  <a:pt x="287045" y="398672"/>
                </a:lnTo>
                <a:lnTo>
                  <a:pt x="326667" y="398672"/>
                </a:lnTo>
                <a:lnTo>
                  <a:pt x="317076" y="398077"/>
                </a:lnTo>
                <a:lnTo>
                  <a:pt x="307237" y="397879"/>
                </a:lnTo>
                <a:close/>
              </a:path>
              <a:path w="618489" h="630554">
                <a:moveTo>
                  <a:pt x="411945" y="397879"/>
                </a:moveTo>
                <a:lnTo>
                  <a:pt x="401920" y="398077"/>
                </a:lnTo>
                <a:lnTo>
                  <a:pt x="391754" y="398672"/>
                </a:lnTo>
                <a:lnTo>
                  <a:pt x="383377" y="399688"/>
                </a:lnTo>
                <a:lnTo>
                  <a:pt x="378026" y="404944"/>
                </a:lnTo>
                <a:lnTo>
                  <a:pt x="378079" y="445854"/>
                </a:lnTo>
                <a:lnTo>
                  <a:pt x="377032" y="450032"/>
                </a:lnTo>
                <a:lnTo>
                  <a:pt x="377032" y="460691"/>
                </a:lnTo>
                <a:lnTo>
                  <a:pt x="383377" y="466733"/>
                </a:lnTo>
                <a:lnTo>
                  <a:pt x="439804" y="466733"/>
                </a:lnTo>
                <a:lnTo>
                  <a:pt x="445103" y="460419"/>
                </a:lnTo>
                <a:lnTo>
                  <a:pt x="445103" y="404944"/>
                </a:lnTo>
                <a:lnTo>
                  <a:pt x="439721" y="398672"/>
                </a:lnTo>
                <a:lnTo>
                  <a:pt x="431344" y="398672"/>
                </a:lnTo>
                <a:lnTo>
                  <a:pt x="421773" y="398077"/>
                </a:lnTo>
                <a:lnTo>
                  <a:pt x="411945" y="397879"/>
                </a:lnTo>
                <a:close/>
              </a:path>
              <a:path w="618489" h="630554">
                <a:moveTo>
                  <a:pt x="515865" y="397879"/>
                </a:moveTo>
                <a:lnTo>
                  <a:pt x="506035" y="398077"/>
                </a:lnTo>
                <a:lnTo>
                  <a:pt x="496462" y="398672"/>
                </a:lnTo>
                <a:lnTo>
                  <a:pt x="487039" y="399688"/>
                </a:lnTo>
                <a:lnTo>
                  <a:pt x="481740" y="406002"/>
                </a:lnTo>
                <a:lnTo>
                  <a:pt x="481740" y="461738"/>
                </a:lnTo>
                <a:lnTo>
                  <a:pt x="488033" y="468010"/>
                </a:lnTo>
                <a:lnTo>
                  <a:pt x="522702" y="468010"/>
                </a:lnTo>
                <a:lnTo>
                  <a:pt x="528797" y="467748"/>
                </a:lnTo>
                <a:lnTo>
                  <a:pt x="535090" y="466733"/>
                </a:lnTo>
                <a:lnTo>
                  <a:pt x="544492" y="466733"/>
                </a:lnTo>
                <a:lnTo>
                  <a:pt x="550785" y="460419"/>
                </a:lnTo>
                <a:lnTo>
                  <a:pt x="550785" y="404944"/>
                </a:lnTo>
                <a:lnTo>
                  <a:pt x="545487" y="398672"/>
                </a:lnTo>
                <a:lnTo>
                  <a:pt x="536053" y="398672"/>
                </a:lnTo>
                <a:lnTo>
                  <a:pt x="525891" y="398077"/>
                </a:lnTo>
                <a:lnTo>
                  <a:pt x="515865" y="397879"/>
                </a:lnTo>
                <a:close/>
              </a:path>
              <a:path w="618489" h="630554">
                <a:moveTo>
                  <a:pt x="163384" y="492250"/>
                </a:moveTo>
                <a:lnTo>
                  <a:pt x="148527" y="492957"/>
                </a:lnTo>
                <a:lnTo>
                  <a:pt x="140366" y="496398"/>
                </a:lnTo>
                <a:lnTo>
                  <a:pt x="136920" y="504553"/>
                </a:lnTo>
                <a:lnTo>
                  <a:pt x="136212" y="519401"/>
                </a:lnTo>
                <a:lnTo>
                  <a:pt x="136212" y="528888"/>
                </a:lnTo>
                <a:lnTo>
                  <a:pt x="137269" y="538189"/>
                </a:lnTo>
                <a:lnTo>
                  <a:pt x="140694" y="544359"/>
                </a:lnTo>
                <a:lnTo>
                  <a:pt x="146871" y="547780"/>
                </a:lnTo>
                <a:lnTo>
                  <a:pt x="156180" y="548835"/>
                </a:lnTo>
                <a:lnTo>
                  <a:pt x="162389" y="548835"/>
                </a:lnTo>
                <a:lnTo>
                  <a:pt x="177742" y="548512"/>
                </a:lnTo>
                <a:lnTo>
                  <a:pt x="186938" y="544817"/>
                </a:lnTo>
                <a:lnTo>
                  <a:pt x="191226" y="536013"/>
                </a:lnTo>
                <a:lnTo>
                  <a:pt x="191854" y="520365"/>
                </a:lnTo>
                <a:lnTo>
                  <a:pt x="190640" y="504491"/>
                </a:lnTo>
                <a:lnTo>
                  <a:pt x="187039" y="496102"/>
                </a:lnTo>
                <a:lnTo>
                  <a:pt x="178727" y="492816"/>
                </a:lnTo>
                <a:lnTo>
                  <a:pt x="163384" y="492250"/>
                </a:lnTo>
                <a:close/>
              </a:path>
              <a:path w="618489" h="630554">
                <a:moveTo>
                  <a:pt x="258585" y="492250"/>
                </a:moveTo>
                <a:lnTo>
                  <a:pt x="243741" y="493450"/>
                </a:lnTo>
                <a:lnTo>
                  <a:pt x="235586" y="496953"/>
                </a:lnTo>
                <a:lnTo>
                  <a:pt x="232142" y="504974"/>
                </a:lnTo>
                <a:lnTo>
                  <a:pt x="231434" y="519726"/>
                </a:lnTo>
                <a:lnTo>
                  <a:pt x="231497" y="524836"/>
                </a:lnTo>
                <a:lnTo>
                  <a:pt x="230439" y="526940"/>
                </a:lnTo>
                <a:lnTo>
                  <a:pt x="231364" y="537862"/>
                </a:lnTo>
                <a:lnTo>
                  <a:pt x="234732" y="544555"/>
                </a:lnTo>
                <a:lnTo>
                  <a:pt x="241438" y="547914"/>
                </a:lnTo>
                <a:lnTo>
                  <a:pt x="252376" y="548835"/>
                </a:lnTo>
                <a:lnTo>
                  <a:pt x="257611" y="548835"/>
                </a:lnTo>
                <a:lnTo>
                  <a:pt x="273555" y="548281"/>
                </a:lnTo>
                <a:lnTo>
                  <a:pt x="282156" y="544991"/>
                </a:lnTo>
                <a:lnTo>
                  <a:pt x="285843" y="536594"/>
                </a:lnTo>
                <a:lnTo>
                  <a:pt x="287045" y="520721"/>
                </a:lnTo>
                <a:lnTo>
                  <a:pt x="285986" y="505519"/>
                </a:lnTo>
                <a:lnTo>
                  <a:pt x="281850" y="496665"/>
                </a:lnTo>
                <a:lnTo>
                  <a:pt x="273196" y="492722"/>
                </a:lnTo>
                <a:lnTo>
                  <a:pt x="258585" y="492250"/>
                </a:lnTo>
                <a:close/>
              </a:path>
              <a:path w="618489" h="630554">
                <a:moveTo>
                  <a:pt x="360362" y="492250"/>
                </a:moveTo>
                <a:lnTo>
                  <a:pt x="354132" y="492250"/>
                </a:lnTo>
                <a:lnTo>
                  <a:pt x="338201" y="492816"/>
                </a:lnTo>
                <a:lnTo>
                  <a:pt x="329598" y="496102"/>
                </a:lnTo>
                <a:lnTo>
                  <a:pt x="325904" y="504491"/>
                </a:lnTo>
                <a:lnTo>
                  <a:pt x="324698" y="520365"/>
                </a:lnTo>
                <a:lnTo>
                  <a:pt x="325855" y="535865"/>
                </a:lnTo>
                <a:lnTo>
                  <a:pt x="330129" y="544424"/>
                </a:lnTo>
                <a:lnTo>
                  <a:pt x="338723" y="548071"/>
                </a:lnTo>
                <a:lnTo>
                  <a:pt x="352844" y="548835"/>
                </a:lnTo>
                <a:lnTo>
                  <a:pt x="367733" y="547638"/>
                </a:lnTo>
                <a:lnTo>
                  <a:pt x="375996" y="544039"/>
                </a:lnTo>
                <a:lnTo>
                  <a:pt x="379550" y="535721"/>
                </a:lnTo>
                <a:lnTo>
                  <a:pt x="380309" y="520365"/>
                </a:lnTo>
                <a:lnTo>
                  <a:pt x="380309" y="512187"/>
                </a:lnTo>
                <a:lnTo>
                  <a:pt x="379252" y="502446"/>
                </a:lnTo>
                <a:lnTo>
                  <a:pt x="375829" y="496329"/>
                </a:lnTo>
                <a:lnTo>
                  <a:pt x="369659" y="493157"/>
                </a:lnTo>
                <a:lnTo>
                  <a:pt x="360362" y="492250"/>
                </a:lnTo>
                <a:close/>
              </a:path>
              <a:path w="618489" h="630554">
                <a:moveTo>
                  <a:pt x="447071" y="492250"/>
                </a:moveTo>
                <a:lnTo>
                  <a:pt x="431630" y="492965"/>
                </a:lnTo>
                <a:lnTo>
                  <a:pt x="423182" y="496499"/>
                </a:lnTo>
                <a:lnTo>
                  <a:pt x="419642" y="504937"/>
                </a:lnTo>
                <a:lnTo>
                  <a:pt x="418926" y="520365"/>
                </a:lnTo>
                <a:lnTo>
                  <a:pt x="419642" y="535865"/>
                </a:lnTo>
                <a:lnTo>
                  <a:pt x="423182" y="544424"/>
                </a:lnTo>
                <a:lnTo>
                  <a:pt x="431630" y="548071"/>
                </a:lnTo>
                <a:lnTo>
                  <a:pt x="447071" y="548835"/>
                </a:lnTo>
                <a:lnTo>
                  <a:pt x="461960" y="548128"/>
                </a:lnTo>
                <a:lnTo>
                  <a:pt x="470224" y="544687"/>
                </a:lnTo>
                <a:lnTo>
                  <a:pt x="473777" y="536532"/>
                </a:lnTo>
                <a:lnTo>
                  <a:pt x="474536" y="521684"/>
                </a:lnTo>
                <a:lnTo>
                  <a:pt x="473926" y="506193"/>
                </a:lnTo>
                <a:lnTo>
                  <a:pt x="470620" y="497547"/>
                </a:lnTo>
                <a:lnTo>
                  <a:pt x="462406" y="493611"/>
                </a:lnTo>
                <a:lnTo>
                  <a:pt x="447071" y="492250"/>
                </a:lnTo>
                <a:close/>
              </a:path>
              <a:path w="618489" h="630554">
                <a:moveTo>
                  <a:pt x="231434" y="586467"/>
                </a:moveTo>
                <a:lnTo>
                  <a:pt x="220498" y="587390"/>
                </a:lnTo>
                <a:lnTo>
                  <a:pt x="213796" y="590756"/>
                </a:lnTo>
                <a:lnTo>
                  <a:pt x="210431" y="597462"/>
                </a:lnTo>
                <a:lnTo>
                  <a:pt x="209508" y="608404"/>
                </a:lnTo>
                <a:lnTo>
                  <a:pt x="210558" y="618456"/>
                </a:lnTo>
                <a:lnTo>
                  <a:pt x="213890" y="625257"/>
                </a:lnTo>
                <a:lnTo>
                  <a:pt x="219774" y="629113"/>
                </a:lnTo>
                <a:lnTo>
                  <a:pt x="228481" y="630330"/>
                </a:lnTo>
                <a:lnTo>
                  <a:pt x="240617" y="629409"/>
                </a:lnTo>
                <a:lnTo>
                  <a:pt x="247897" y="626046"/>
                </a:lnTo>
                <a:lnTo>
                  <a:pt x="251443" y="619344"/>
                </a:lnTo>
                <a:lnTo>
                  <a:pt x="252376" y="608404"/>
                </a:lnTo>
                <a:lnTo>
                  <a:pt x="251459" y="597904"/>
                </a:lnTo>
                <a:lnTo>
                  <a:pt x="248187" y="591149"/>
                </a:lnTo>
                <a:lnTo>
                  <a:pt x="241774" y="587537"/>
                </a:lnTo>
                <a:lnTo>
                  <a:pt x="231434" y="586467"/>
                </a:lnTo>
                <a:close/>
              </a:path>
              <a:path w="618489" h="630554">
                <a:moveTo>
                  <a:pt x="305693" y="586467"/>
                </a:moveTo>
                <a:lnTo>
                  <a:pt x="294619" y="587527"/>
                </a:lnTo>
                <a:lnTo>
                  <a:pt x="287580" y="590959"/>
                </a:lnTo>
                <a:lnTo>
                  <a:pt x="283873" y="597140"/>
                </a:lnTo>
                <a:lnTo>
                  <a:pt x="282794" y="606446"/>
                </a:lnTo>
                <a:lnTo>
                  <a:pt x="283844" y="617090"/>
                </a:lnTo>
                <a:lnTo>
                  <a:pt x="287177" y="624173"/>
                </a:lnTo>
                <a:lnTo>
                  <a:pt x="293064" y="628115"/>
                </a:lnTo>
                <a:lnTo>
                  <a:pt x="301777" y="629335"/>
                </a:lnTo>
                <a:lnTo>
                  <a:pt x="313461" y="628429"/>
                </a:lnTo>
                <a:lnTo>
                  <a:pt x="320787" y="625255"/>
                </a:lnTo>
                <a:lnTo>
                  <a:pt x="324580" y="619135"/>
                </a:lnTo>
                <a:lnTo>
                  <a:pt x="325661" y="609388"/>
                </a:lnTo>
                <a:lnTo>
                  <a:pt x="325348" y="597851"/>
                </a:lnTo>
                <a:lnTo>
                  <a:pt x="322368" y="590856"/>
                </a:lnTo>
                <a:lnTo>
                  <a:pt x="316043" y="587397"/>
                </a:lnTo>
                <a:lnTo>
                  <a:pt x="305693" y="586467"/>
                </a:lnTo>
                <a:close/>
              </a:path>
              <a:path w="618489" h="630554">
                <a:moveTo>
                  <a:pt x="387513" y="586467"/>
                </a:moveTo>
                <a:lnTo>
                  <a:pt x="377173" y="587387"/>
                </a:lnTo>
                <a:lnTo>
                  <a:pt x="370759" y="590667"/>
                </a:lnTo>
                <a:lnTo>
                  <a:pt x="367487" y="597091"/>
                </a:lnTo>
                <a:lnTo>
                  <a:pt x="366571" y="607440"/>
                </a:lnTo>
                <a:lnTo>
                  <a:pt x="367496" y="618416"/>
                </a:lnTo>
                <a:lnTo>
                  <a:pt x="370864" y="625228"/>
                </a:lnTo>
                <a:lnTo>
                  <a:pt x="377570" y="628706"/>
                </a:lnTo>
                <a:lnTo>
                  <a:pt x="388508" y="629681"/>
                </a:lnTo>
                <a:lnTo>
                  <a:pt x="398842" y="628706"/>
                </a:lnTo>
                <a:lnTo>
                  <a:pt x="405252" y="625228"/>
                </a:lnTo>
                <a:lnTo>
                  <a:pt x="408523" y="618416"/>
                </a:lnTo>
                <a:lnTo>
                  <a:pt x="409439" y="607440"/>
                </a:lnTo>
                <a:lnTo>
                  <a:pt x="408516" y="596502"/>
                </a:lnTo>
                <a:lnTo>
                  <a:pt x="405151" y="589882"/>
                </a:lnTo>
                <a:lnTo>
                  <a:pt x="398448" y="586798"/>
                </a:lnTo>
                <a:lnTo>
                  <a:pt x="387513" y="586467"/>
                </a:lnTo>
                <a:close/>
              </a:path>
            </a:pathLst>
          </a:custGeom>
          <a:solidFill>
            <a:srgbClr val="FFFFFF"/>
          </a:solidFill>
        </p:spPr>
        <p:txBody>
          <a:bodyPr wrap="square" lIns="0" tIns="0" rIns="0" bIns="0" rtlCol="0"/>
          <a:lstStyle/>
          <a:p>
            <a:pPr defTabSz="554492"/>
            <a:endParaRPr sz="1092">
              <a:solidFill>
                <a:prstClr val="black"/>
              </a:solidFill>
            </a:endParaRPr>
          </a:p>
        </p:txBody>
      </p:sp>
      <p:sp>
        <p:nvSpPr>
          <p:cNvPr id="45" name="object 45"/>
          <p:cNvSpPr/>
          <p:nvPr/>
        </p:nvSpPr>
        <p:spPr>
          <a:xfrm>
            <a:off x="10300120" y="2465182"/>
            <a:ext cx="1648076" cy="4392432"/>
          </a:xfrm>
          <a:custGeom>
            <a:avLst/>
            <a:gdLst/>
            <a:ahLst/>
            <a:cxnLst/>
            <a:rect l="l" t="t" r="r" b="b"/>
            <a:pathLst>
              <a:path w="2717800" h="7243445">
                <a:moveTo>
                  <a:pt x="2717795" y="0"/>
                </a:moveTo>
                <a:lnTo>
                  <a:pt x="2674093" y="35716"/>
                </a:lnTo>
                <a:lnTo>
                  <a:pt x="2590749" y="105068"/>
                </a:lnTo>
                <a:lnTo>
                  <a:pt x="2326781" y="329823"/>
                </a:lnTo>
                <a:lnTo>
                  <a:pt x="2254611" y="390113"/>
                </a:lnTo>
                <a:lnTo>
                  <a:pt x="2218360" y="419788"/>
                </a:lnTo>
                <a:lnTo>
                  <a:pt x="2181808" y="449197"/>
                </a:lnTo>
                <a:lnTo>
                  <a:pt x="2144814" y="478378"/>
                </a:lnTo>
                <a:lnTo>
                  <a:pt x="2107236" y="507368"/>
                </a:lnTo>
                <a:lnTo>
                  <a:pt x="2068934" y="536203"/>
                </a:lnTo>
                <a:lnTo>
                  <a:pt x="2029764" y="564920"/>
                </a:lnTo>
                <a:lnTo>
                  <a:pt x="1989586" y="593556"/>
                </a:lnTo>
                <a:lnTo>
                  <a:pt x="1948257" y="622147"/>
                </a:lnTo>
                <a:lnTo>
                  <a:pt x="1905636" y="650731"/>
                </a:lnTo>
                <a:lnTo>
                  <a:pt x="1861582" y="679343"/>
                </a:lnTo>
                <a:lnTo>
                  <a:pt x="1815952" y="708020"/>
                </a:lnTo>
                <a:lnTo>
                  <a:pt x="1768605" y="736800"/>
                </a:lnTo>
                <a:lnTo>
                  <a:pt x="1719399" y="765719"/>
                </a:lnTo>
                <a:lnTo>
                  <a:pt x="1668193" y="794813"/>
                </a:lnTo>
                <a:lnTo>
                  <a:pt x="1629778" y="815924"/>
                </a:lnTo>
                <a:lnTo>
                  <a:pt x="1590062" y="837082"/>
                </a:lnTo>
                <a:lnTo>
                  <a:pt x="1549119" y="858278"/>
                </a:lnTo>
                <a:lnTo>
                  <a:pt x="1507023" y="879501"/>
                </a:lnTo>
                <a:lnTo>
                  <a:pt x="1463851" y="900743"/>
                </a:lnTo>
                <a:lnTo>
                  <a:pt x="1374575" y="943245"/>
                </a:lnTo>
                <a:lnTo>
                  <a:pt x="1281891" y="985710"/>
                </a:lnTo>
                <a:lnTo>
                  <a:pt x="1137785" y="1049174"/>
                </a:lnTo>
                <a:lnTo>
                  <a:pt x="989381" y="1112134"/>
                </a:lnTo>
                <a:lnTo>
                  <a:pt x="122015" y="1465192"/>
                </a:lnTo>
                <a:lnTo>
                  <a:pt x="181" y="1517566"/>
                </a:lnTo>
                <a:lnTo>
                  <a:pt x="103" y="1564357"/>
                </a:lnTo>
                <a:lnTo>
                  <a:pt x="0" y="1965513"/>
                </a:lnTo>
                <a:lnTo>
                  <a:pt x="65" y="2042810"/>
                </a:lnTo>
                <a:lnTo>
                  <a:pt x="262" y="2170023"/>
                </a:lnTo>
                <a:lnTo>
                  <a:pt x="393" y="2239053"/>
                </a:lnTo>
                <a:lnTo>
                  <a:pt x="753" y="2387844"/>
                </a:lnTo>
                <a:lnTo>
                  <a:pt x="1202" y="2537904"/>
                </a:lnTo>
                <a:lnTo>
                  <a:pt x="1734" y="2689137"/>
                </a:lnTo>
                <a:lnTo>
                  <a:pt x="2341" y="2841443"/>
                </a:lnTo>
                <a:lnTo>
                  <a:pt x="3018" y="2994727"/>
                </a:lnTo>
                <a:lnTo>
                  <a:pt x="4015" y="3200456"/>
                </a:lnTo>
                <a:lnTo>
                  <a:pt x="5392" y="3459461"/>
                </a:lnTo>
                <a:lnTo>
                  <a:pt x="7193" y="3772378"/>
                </a:lnTo>
                <a:lnTo>
                  <a:pt x="14734" y="4996379"/>
                </a:lnTo>
                <a:lnTo>
                  <a:pt x="16750" y="5344771"/>
                </a:lnTo>
                <a:lnTo>
                  <a:pt x="18127" y="5603777"/>
                </a:lnTo>
                <a:lnTo>
                  <a:pt x="19124" y="5809506"/>
                </a:lnTo>
                <a:lnTo>
                  <a:pt x="20018" y="6015594"/>
                </a:lnTo>
                <a:lnTo>
                  <a:pt x="20594" y="6165631"/>
                </a:lnTo>
                <a:lnTo>
                  <a:pt x="21099" y="6316483"/>
                </a:lnTo>
                <a:lnTo>
                  <a:pt x="21519" y="6466131"/>
                </a:lnTo>
                <a:lnTo>
                  <a:pt x="21847" y="6614477"/>
                </a:lnTo>
                <a:lnTo>
                  <a:pt x="22011" y="6712602"/>
                </a:lnTo>
                <a:lnTo>
                  <a:pt x="22152" y="7145689"/>
                </a:lnTo>
                <a:lnTo>
                  <a:pt x="22033" y="7243287"/>
                </a:lnTo>
                <a:lnTo>
                  <a:pt x="2700760" y="7243287"/>
                </a:lnTo>
                <a:lnTo>
                  <a:pt x="2701405" y="7119983"/>
                </a:lnTo>
                <a:lnTo>
                  <a:pt x="2702364" y="6920840"/>
                </a:lnTo>
                <a:lnTo>
                  <a:pt x="2703264" y="6712602"/>
                </a:lnTo>
                <a:lnTo>
                  <a:pt x="2704013" y="6520225"/>
                </a:lnTo>
                <a:lnTo>
                  <a:pt x="2704879" y="6268404"/>
                </a:lnTo>
                <a:lnTo>
                  <a:pt x="2705635" y="6013672"/>
                </a:lnTo>
                <a:lnTo>
                  <a:pt x="2706398" y="5711051"/>
                </a:lnTo>
                <a:lnTo>
                  <a:pt x="2707037" y="5405387"/>
                </a:lnTo>
                <a:lnTo>
                  <a:pt x="2707400" y="5201070"/>
                </a:lnTo>
                <a:lnTo>
                  <a:pt x="2707743" y="4979530"/>
                </a:lnTo>
                <a:lnTo>
                  <a:pt x="2708133" y="4688746"/>
                </a:lnTo>
                <a:lnTo>
                  <a:pt x="2708636" y="4226285"/>
                </a:lnTo>
                <a:lnTo>
                  <a:pt x="2709861" y="2888246"/>
                </a:lnTo>
                <a:lnTo>
                  <a:pt x="2710343" y="2477430"/>
                </a:lnTo>
                <a:lnTo>
                  <a:pt x="2710835" y="2140613"/>
                </a:lnTo>
                <a:lnTo>
                  <a:pt x="2711131" y="1965513"/>
                </a:lnTo>
                <a:lnTo>
                  <a:pt x="2711628" y="1710443"/>
                </a:lnTo>
                <a:lnTo>
                  <a:pt x="2712336" y="1405318"/>
                </a:lnTo>
                <a:lnTo>
                  <a:pt x="2713184" y="1101397"/>
                </a:lnTo>
                <a:lnTo>
                  <a:pt x="2714216" y="794813"/>
                </a:lnTo>
                <a:lnTo>
                  <a:pt x="2714977" y="593556"/>
                </a:lnTo>
                <a:lnTo>
                  <a:pt x="2715848" y="390113"/>
                </a:lnTo>
                <a:lnTo>
                  <a:pt x="2716755" y="198515"/>
                </a:lnTo>
                <a:lnTo>
                  <a:pt x="2717795" y="0"/>
                </a:lnTo>
                <a:close/>
              </a:path>
            </a:pathLst>
          </a:custGeom>
          <a:solidFill>
            <a:srgbClr val="FFFFFF">
              <a:alpha val="74899"/>
            </a:srgbClr>
          </a:solidFill>
        </p:spPr>
        <p:txBody>
          <a:bodyPr wrap="square" lIns="0" tIns="0" rIns="0" bIns="0" rtlCol="0"/>
          <a:lstStyle/>
          <a:p>
            <a:pPr defTabSz="554492"/>
            <a:endParaRPr sz="1092">
              <a:solidFill>
                <a:prstClr val="black"/>
              </a:solidFill>
            </a:endParaRPr>
          </a:p>
        </p:txBody>
      </p:sp>
      <p:sp>
        <p:nvSpPr>
          <p:cNvPr id="46" name="object 46"/>
          <p:cNvSpPr/>
          <p:nvPr/>
        </p:nvSpPr>
        <p:spPr>
          <a:xfrm>
            <a:off x="151905" y="3575872"/>
            <a:ext cx="1533268" cy="3279742"/>
          </a:xfrm>
          <a:prstGeom prst="rect">
            <a:avLst/>
          </a:prstGeom>
          <a:blipFill>
            <a:blip r:embed="rId3" cstate="print"/>
            <a:stretch>
              <a:fillRect/>
            </a:stretch>
          </a:blipFill>
        </p:spPr>
        <p:txBody>
          <a:bodyPr wrap="square" lIns="0" tIns="0" rIns="0" bIns="0" rtlCol="0"/>
          <a:lstStyle/>
          <a:p>
            <a:pPr defTabSz="554492"/>
            <a:endParaRPr sz="1092">
              <a:solidFill>
                <a:prstClr val="black"/>
              </a:solidFill>
            </a:endParaRPr>
          </a:p>
        </p:txBody>
      </p:sp>
      <p:sp>
        <p:nvSpPr>
          <p:cNvPr id="47" name="object 47"/>
          <p:cNvSpPr txBox="1"/>
          <p:nvPr/>
        </p:nvSpPr>
        <p:spPr>
          <a:xfrm>
            <a:off x="364667" y="5186669"/>
            <a:ext cx="1202941" cy="1425968"/>
          </a:xfrm>
          <a:prstGeom prst="rect">
            <a:avLst/>
          </a:prstGeom>
        </p:spPr>
        <p:txBody>
          <a:bodyPr vert="horz" wrap="square" lIns="0" tIns="0" rIns="0" bIns="0" rtlCol="0">
            <a:spAutoFit/>
          </a:bodyPr>
          <a:lstStyle/>
          <a:p>
            <a:pPr marL="7701" marR="3081" defTabSz="554492">
              <a:lnSpc>
                <a:spcPct val="111800"/>
              </a:lnSpc>
            </a:pPr>
            <a:r>
              <a:rPr sz="1182" spc="-3" dirty="0">
                <a:solidFill>
                  <a:srgbClr val="353535"/>
                </a:solidFill>
                <a:latin typeface="Arial"/>
                <a:cs typeface="Arial"/>
              </a:rPr>
              <a:t>Drive </a:t>
            </a:r>
            <a:r>
              <a:rPr sz="1182" spc="12" dirty="0">
                <a:solidFill>
                  <a:srgbClr val="353535"/>
                </a:solidFill>
                <a:latin typeface="Arial"/>
                <a:cs typeface="Arial"/>
              </a:rPr>
              <a:t>clarity,  </a:t>
            </a:r>
            <a:r>
              <a:rPr sz="1182" spc="15" dirty="0">
                <a:solidFill>
                  <a:srgbClr val="353535"/>
                </a:solidFill>
                <a:latin typeface="Arial"/>
                <a:cs typeface="Arial"/>
              </a:rPr>
              <a:t>understanding  and </a:t>
            </a:r>
            <a:r>
              <a:rPr sz="1182" spc="18" dirty="0">
                <a:solidFill>
                  <a:srgbClr val="353535"/>
                </a:solidFill>
                <a:latin typeface="Arial"/>
                <a:cs typeface="Arial"/>
              </a:rPr>
              <a:t>action on</a:t>
            </a:r>
            <a:r>
              <a:rPr sz="1182" spc="-64" dirty="0">
                <a:solidFill>
                  <a:srgbClr val="353535"/>
                </a:solidFill>
                <a:latin typeface="Arial"/>
                <a:cs typeface="Arial"/>
              </a:rPr>
              <a:t> </a:t>
            </a:r>
            <a:r>
              <a:rPr sz="1182" spc="12" dirty="0">
                <a:solidFill>
                  <a:srgbClr val="353535"/>
                </a:solidFill>
                <a:latin typeface="Arial"/>
                <a:cs typeface="Arial"/>
              </a:rPr>
              <a:t>the  </a:t>
            </a:r>
            <a:r>
              <a:rPr sz="1182" spc="15" dirty="0">
                <a:solidFill>
                  <a:srgbClr val="353535"/>
                </a:solidFill>
                <a:latin typeface="Arial"/>
                <a:cs typeface="Arial"/>
              </a:rPr>
              <a:t>market  </a:t>
            </a:r>
            <a:r>
              <a:rPr sz="1182" spc="24" dirty="0">
                <a:solidFill>
                  <a:srgbClr val="353535"/>
                </a:solidFill>
                <a:latin typeface="Arial"/>
                <a:cs typeface="Arial"/>
              </a:rPr>
              <a:t>opportunity </a:t>
            </a:r>
            <a:r>
              <a:rPr sz="1182" spc="15" dirty="0">
                <a:solidFill>
                  <a:srgbClr val="353535"/>
                </a:solidFill>
                <a:latin typeface="Arial"/>
                <a:cs typeface="Arial"/>
              </a:rPr>
              <a:t>or  </a:t>
            </a:r>
            <a:r>
              <a:rPr sz="1182" spc="12" dirty="0">
                <a:solidFill>
                  <a:srgbClr val="353535"/>
                </a:solidFill>
                <a:latin typeface="Arial"/>
                <a:cs typeface="Arial"/>
              </a:rPr>
              <a:t>threat </a:t>
            </a:r>
            <a:r>
              <a:rPr sz="1182" spc="18" dirty="0">
                <a:solidFill>
                  <a:srgbClr val="353535"/>
                </a:solidFill>
                <a:latin typeface="Arial"/>
                <a:cs typeface="Arial"/>
              </a:rPr>
              <a:t>for </a:t>
            </a:r>
            <a:r>
              <a:rPr sz="1182" spc="12" dirty="0">
                <a:solidFill>
                  <a:srgbClr val="353535"/>
                </a:solidFill>
                <a:latin typeface="Arial"/>
                <a:cs typeface="Arial"/>
              </a:rPr>
              <a:t>your  </a:t>
            </a:r>
            <a:r>
              <a:rPr sz="1182" spc="9" dirty="0">
                <a:solidFill>
                  <a:srgbClr val="353535"/>
                </a:solidFill>
                <a:latin typeface="Arial"/>
                <a:cs typeface="Arial"/>
              </a:rPr>
              <a:t>business</a:t>
            </a:r>
            <a:endParaRPr sz="1182">
              <a:solidFill>
                <a:prstClr val="black"/>
              </a:solidFill>
              <a:latin typeface="Arial"/>
              <a:cs typeface="Arial"/>
            </a:endParaRPr>
          </a:p>
        </p:txBody>
      </p:sp>
      <p:sp>
        <p:nvSpPr>
          <p:cNvPr id="48" name="object 48"/>
          <p:cNvSpPr txBox="1"/>
          <p:nvPr/>
        </p:nvSpPr>
        <p:spPr>
          <a:xfrm>
            <a:off x="6485717" y="4230018"/>
            <a:ext cx="1375836" cy="1974451"/>
          </a:xfrm>
          <a:prstGeom prst="rect">
            <a:avLst/>
          </a:prstGeom>
        </p:spPr>
        <p:txBody>
          <a:bodyPr vert="horz" wrap="square" lIns="0" tIns="0" rIns="0" bIns="0" rtlCol="0">
            <a:spAutoFit/>
          </a:bodyPr>
          <a:lstStyle/>
          <a:p>
            <a:pPr marL="7701" marR="40047" defTabSz="554492">
              <a:lnSpc>
                <a:spcPct val="111600"/>
              </a:lnSpc>
            </a:pPr>
            <a:r>
              <a:rPr sz="1182" spc="3" dirty="0">
                <a:solidFill>
                  <a:srgbClr val="353535"/>
                </a:solidFill>
                <a:latin typeface="Arial"/>
                <a:cs typeface="Arial"/>
              </a:rPr>
              <a:t>Design</a:t>
            </a:r>
            <a:r>
              <a:rPr sz="1182" spc="-52" dirty="0">
                <a:solidFill>
                  <a:srgbClr val="353535"/>
                </a:solidFill>
                <a:latin typeface="Arial"/>
                <a:cs typeface="Arial"/>
              </a:rPr>
              <a:t> </a:t>
            </a:r>
            <a:r>
              <a:rPr sz="1182" spc="15" dirty="0">
                <a:solidFill>
                  <a:srgbClr val="353535"/>
                </a:solidFill>
                <a:latin typeface="Arial"/>
                <a:cs typeface="Arial"/>
              </a:rPr>
              <a:t>architecture  and </a:t>
            </a:r>
            <a:r>
              <a:rPr sz="1182" spc="9" dirty="0">
                <a:solidFill>
                  <a:srgbClr val="353535"/>
                </a:solidFill>
                <a:latin typeface="Arial"/>
                <a:cs typeface="Arial"/>
              </a:rPr>
              <a:t>define </a:t>
            </a:r>
            <a:r>
              <a:rPr sz="1182" spc="33" dirty="0">
                <a:solidFill>
                  <a:srgbClr val="353535"/>
                </a:solidFill>
                <a:latin typeface="Arial"/>
                <a:cs typeface="Arial"/>
              </a:rPr>
              <a:t>product  </a:t>
            </a:r>
            <a:r>
              <a:rPr sz="1182" spc="24" dirty="0">
                <a:solidFill>
                  <a:srgbClr val="353535"/>
                </a:solidFill>
                <a:latin typeface="Arial"/>
                <a:cs typeface="Arial"/>
              </a:rPr>
              <a:t>backlog </a:t>
            </a:r>
            <a:r>
              <a:rPr sz="1182" spc="27" dirty="0">
                <a:solidFill>
                  <a:srgbClr val="353535"/>
                </a:solidFill>
                <a:latin typeface="Arial"/>
                <a:cs typeface="Arial"/>
              </a:rPr>
              <a:t>of </a:t>
            </a:r>
            <a:r>
              <a:rPr sz="1182" spc="12" dirty="0">
                <a:solidFill>
                  <a:srgbClr val="353535"/>
                </a:solidFill>
                <a:latin typeface="Arial"/>
                <a:cs typeface="Arial"/>
              </a:rPr>
              <a:t>the  </a:t>
            </a:r>
            <a:r>
              <a:rPr sz="1182" spc="9" dirty="0">
                <a:solidFill>
                  <a:srgbClr val="353535"/>
                </a:solidFill>
                <a:latin typeface="Arial"/>
                <a:cs typeface="Arial"/>
              </a:rPr>
              <a:t>business</a:t>
            </a:r>
            <a:r>
              <a:rPr sz="1182" spc="-30" dirty="0">
                <a:solidFill>
                  <a:srgbClr val="353535"/>
                </a:solidFill>
                <a:latin typeface="Arial"/>
                <a:cs typeface="Arial"/>
              </a:rPr>
              <a:t> </a:t>
            </a:r>
            <a:r>
              <a:rPr sz="1182" spc="12" dirty="0">
                <a:solidFill>
                  <a:srgbClr val="353535"/>
                </a:solidFill>
                <a:latin typeface="Arial"/>
                <a:cs typeface="Arial"/>
              </a:rPr>
              <a:t>offering</a:t>
            </a:r>
            <a:endParaRPr sz="1182">
              <a:solidFill>
                <a:prstClr val="black"/>
              </a:solidFill>
              <a:latin typeface="Arial"/>
              <a:cs typeface="Arial"/>
            </a:endParaRPr>
          </a:p>
          <a:p>
            <a:pPr marL="7701" marR="3081" defTabSz="554492">
              <a:lnSpc>
                <a:spcPct val="111600"/>
              </a:lnSpc>
              <a:spcBef>
                <a:spcPts val="549"/>
              </a:spcBef>
            </a:pPr>
            <a:r>
              <a:rPr sz="1182" spc="12" dirty="0">
                <a:solidFill>
                  <a:srgbClr val="353535"/>
                </a:solidFill>
                <a:latin typeface="Arial"/>
                <a:cs typeface="Arial"/>
              </a:rPr>
              <a:t>Identify </a:t>
            </a:r>
            <a:r>
              <a:rPr sz="1182" spc="18" dirty="0">
                <a:solidFill>
                  <a:srgbClr val="353535"/>
                </a:solidFill>
                <a:latin typeface="Arial"/>
                <a:cs typeface="Arial"/>
              </a:rPr>
              <a:t>cognitive  </a:t>
            </a:r>
            <a:r>
              <a:rPr sz="1182" spc="12" dirty="0">
                <a:solidFill>
                  <a:srgbClr val="353535"/>
                </a:solidFill>
                <a:latin typeface="Arial"/>
                <a:cs typeface="Arial"/>
              </a:rPr>
              <a:t>interaction</a:t>
            </a:r>
            <a:r>
              <a:rPr sz="1182" spc="-27" dirty="0">
                <a:solidFill>
                  <a:srgbClr val="353535"/>
                </a:solidFill>
                <a:latin typeface="Arial"/>
                <a:cs typeface="Arial"/>
              </a:rPr>
              <a:t> </a:t>
            </a:r>
            <a:r>
              <a:rPr sz="1182" spc="24" dirty="0">
                <a:solidFill>
                  <a:srgbClr val="353535"/>
                </a:solidFill>
                <a:latin typeface="Arial"/>
                <a:cs typeface="Arial"/>
              </a:rPr>
              <a:t>points</a:t>
            </a:r>
            <a:endParaRPr sz="1182">
              <a:solidFill>
                <a:prstClr val="black"/>
              </a:solidFill>
              <a:latin typeface="Arial"/>
              <a:cs typeface="Arial"/>
            </a:endParaRPr>
          </a:p>
          <a:p>
            <a:pPr marL="7701" marR="3081" defTabSz="554492">
              <a:lnSpc>
                <a:spcPct val="111600"/>
              </a:lnSpc>
              <a:spcBef>
                <a:spcPts val="564"/>
              </a:spcBef>
            </a:pPr>
            <a:r>
              <a:rPr sz="1182" spc="6" dirty="0">
                <a:solidFill>
                  <a:srgbClr val="353535"/>
                </a:solidFill>
                <a:latin typeface="Arial"/>
                <a:cs typeface="Arial"/>
              </a:rPr>
              <a:t>Develop </a:t>
            </a:r>
            <a:r>
              <a:rPr sz="1182" spc="15" dirty="0">
                <a:solidFill>
                  <a:srgbClr val="353535"/>
                </a:solidFill>
                <a:latin typeface="Arial"/>
                <a:cs typeface="Arial"/>
              </a:rPr>
              <a:t>and</a:t>
            </a:r>
            <a:r>
              <a:rPr sz="1182" spc="-45" dirty="0">
                <a:solidFill>
                  <a:srgbClr val="353535"/>
                </a:solidFill>
                <a:latin typeface="Arial"/>
                <a:cs typeface="Arial"/>
              </a:rPr>
              <a:t> </a:t>
            </a:r>
            <a:r>
              <a:rPr sz="1182" spc="21" dirty="0">
                <a:solidFill>
                  <a:srgbClr val="353535"/>
                </a:solidFill>
                <a:latin typeface="Arial"/>
                <a:cs typeface="Arial"/>
              </a:rPr>
              <a:t>deploy  </a:t>
            </a:r>
            <a:r>
              <a:rPr sz="1182" spc="12" dirty="0">
                <a:solidFill>
                  <a:srgbClr val="353535"/>
                </a:solidFill>
                <a:latin typeface="Arial"/>
                <a:cs typeface="Arial"/>
              </a:rPr>
              <a:t>the offering </a:t>
            </a:r>
            <a:r>
              <a:rPr sz="1182" spc="6" dirty="0">
                <a:solidFill>
                  <a:srgbClr val="353535"/>
                </a:solidFill>
                <a:latin typeface="Arial"/>
                <a:cs typeface="Arial"/>
              </a:rPr>
              <a:t>in  </a:t>
            </a:r>
            <a:r>
              <a:rPr sz="1182" spc="9" dirty="0">
                <a:solidFill>
                  <a:srgbClr val="353535"/>
                </a:solidFill>
                <a:latin typeface="Arial"/>
                <a:cs typeface="Arial"/>
              </a:rPr>
              <a:t>incremental</a:t>
            </a:r>
            <a:r>
              <a:rPr sz="1182" spc="-30" dirty="0">
                <a:solidFill>
                  <a:srgbClr val="353535"/>
                </a:solidFill>
                <a:latin typeface="Arial"/>
                <a:cs typeface="Arial"/>
              </a:rPr>
              <a:t> </a:t>
            </a:r>
            <a:r>
              <a:rPr sz="1182" spc="18" dirty="0">
                <a:solidFill>
                  <a:srgbClr val="353535"/>
                </a:solidFill>
                <a:latin typeface="Arial"/>
                <a:cs typeface="Arial"/>
              </a:rPr>
              <a:t>sprints</a:t>
            </a:r>
            <a:endParaRPr sz="1182">
              <a:solidFill>
                <a:prstClr val="black"/>
              </a:solidFill>
              <a:latin typeface="Arial"/>
              <a:cs typeface="Arial"/>
            </a:endParaRPr>
          </a:p>
        </p:txBody>
      </p:sp>
      <p:sp>
        <p:nvSpPr>
          <p:cNvPr id="49" name="object 49"/>
          <p:cNvSpPr txBox="1"/>
          <p:nvPr/>
        </p:nvSpPr>
        <p:spPr>
          <a:xfrm>
            <a:off x="8495034" y="4007765"/>
            <a:ext cx="1343875" cy="1897507"/>
          </a:xfrm>
          <a:prstGeom prst="rect">
            <a:avLst/>
          </a:prstGeom>
        </p:spPr>
        <p:txBody>
          <a:bodyPr vert="horz" wrap="square" lIns="0" tIns="0" rIns="0" bIns="0" rtlCol="0">
            <a:spAutoFit/>
          </a:bodyPr>
          <a:lstStyle/>
          <a:p>
            <a:pPr marL="7701" marR="3081" algn="just" defTabSz="554492">
              <a:lnSpc>
                <a:spcPct val="111600"/>
              </a:lnSpc>
            </a:pPr>
            <a:r>
              <a:rPr sz="1182" spc="-6" dirty="0">
                <a:solidFill>
                  <a:srgbClr val="353535"/>
                </a:solidFill>
                <a:latin typeface="Arial"/>
                <a:cs typeface="Arial"/>
              </a:rPr>
              <a:t>Deliver </a:t>
            </a:r>
            <a:r>
              <a:rPr sz="1182" spc="15" dirty="0">
                <a:solidFill>
                  <a:srgbClr val="353535"/>
                </a:solidFill>
                <a:latin typeface="Arial"/>
                <a:cs typeface="Arial"/>
              </a:rPr>
              <a:t>and </a:t>
            </a:r>
            <a:r>
              <a:rPr sz="1182" spc="6" dirty="0">
                <a:solidFill>
                  <a:srgbClr val="353535"/>
                </a:solidFill>
                <a:latin typeface="Arial"/>
                <a:cs typeface="Arial"/>
              </a:rPr>
              <a:t>run </a:t>
            </a:r>
            <a:r>
              <a:rPr sz="1182" spc="12" dirty="0">
                <a:solidFill>
                  <a:srgbClr val="353535"/>
                </a:solidFill>
                <a:latin typeface="Arial"/>
                <a:cs typeface="Arial"/>
              </a:rPr>
              <a:t>the  </a:t>
            </a:r>
            <a:r>
              <a:rPr sz="1182" spc="21" dirty="0">
                <a:solidFill>
                  <a:srgbClr val="353535"/>
                </a:solidFill>
                <a:latin typeface="Arial"/>
                <a:cs typeface="Arial"/>
              </a:rPr>
              <a:t>blockchain</a:t>
            </a:r>
            <a:r>
              <a:rPr sz="1182" spc="-33" dirty="0">
                <a:solidFill>
                  <a:srgbClr val="353535"/>
                </a:solidFill>
                <a:latin typeface="Arial"/>
                <a:cs typeface="Arial"/>
              </a:rPr>
              <a:t> </a:t>
            </a:r>
            <a:r>
              <a:rPr sz="1182" spc="9" dirty="0">
                <a:solidFill>
                  <a:srgbClr val="353535"/>
                </a:solidFill>
                <a:latin typeface="Arial"/>
                <a:cs typeface="Arial"/>
              </a:rPr>
              <a:t>enabled  business</a:t>
            </a:r>
            <a:r>
              <a:rPr sz="1182" spc="-33" dirty="0">
                <a:solidFill>
                  <a:srgbClr val="353535"/>
                </a:solidFill>
                <a:latin typeface="Arial"/>
                <a:cs typeface="Arial"/>
              </a:rPr>
              <a:t> </a:t>
            </a:r>
            <a:r>
              <a:rPr sz="1182" spc="12" dirty="0">
                <a:solidFill>
                  <a:srgbClr val="353535"/>
                </a:solidFill>
                <a:latin typeface="Arial"/>
                <a:cs typeface="Arial"/>
              </a:rPr>
              <a:t>offering</a:t>
            </a:r>
            <a:endParaRPr sz="1182">
              <a:solidFill>
                <a:prstClr val="black"/>
              </a:solidFill>
              <a:latin typeface="Arial"/>
              <a:cs typeface="Arial"/>
            </a:endParaRPr>
          </a:p>
          <a:p>
            <a:pPr marL="7701" marR="168273" defTabSz="554492">
              <a:lnSpc>
                <a:spcPct val="111800"/>
              </a:lnSpc>
              <a:spcBef>
                <a:spcPts val="546"/>
              </a:spcBef>
            </a:pPr>
            <a:r>
              <a:rPr sz="1182" spc="12" dirty="0">
                <a:solidFill>
                  <a:srgbClr val="353535"/>
                </a:solidFill>
                <a:latin typeface="Arial"/>
                <a:cs typeface="Arial"/>
              </a:rPr>
              <a:t>Significantly  </a:t>
            </a:r>
            <a:r>
              <a:rPr sz="1182" spc="6" dirty="0">
                <a:solidFill>
                  <a:srgbClr val="353535"/>
                </a:solidFill>
                <a:latin typeface="Arial"/>
                <a:cs typeface="Arial"/>
              </a:rPr>
              <a:t>remove </a:t>
            </a:r>
            <a:r>
              <a:rPr sz="1182" spc="18" dirty="0">
                <a:solidFill>
                  <a:srgbClr val="353535"/>
                </a:solidFill>
                <a:latin typeface="Arial"/>
                <a:cs typeface="Arial"/>
              </a:rPr>
              <a:t>process  friction,</a:t>
            </a:r>
            <a:r>
              <a:rPr sz="1182" spc="-30" dirty="0">
                <a:solidFill>
                  <a:srgbClr val="353535"/>
                </a:solidFill>
                <a:latin typeface="Arial"/>
                <a:cs typeface="Arial"/>
              </a:rPr>
              <a:t> </a:t>
            </a:r>
            <a:r>
              <a:rPr sz="1182" dirty="0">
                <a:solidFill>
                  <a:srgbClr val="353535"/>
                </a:solidFill>
                <a:latin typeface="Arial"/>
                <a:cs typeface="Arial"/>
              </a:rPr>
              <a:t>releasing  </a:t>
            </a:r>
            <a:r>
              <a:rPr sz="1182" spc="18" dirty="0">
                <a:solidFill>
                  <a:srgbClr val="353535"/>
                </a:solidFill>
                <a:latin typeface="Arial"/>
                <a:cs typeface="Arial"/>
              </a:rPr>
              <a:t>capital </a:t>
            </a:r>
            <a:r>
              <a:rPr sz="1182" spc="15" dirty="0">
                <a:solidFill>
                  <a:srgbClr val="353535"/>
                </a:solidFill>
                <a:latin typeface="Arial"/>
                <a:cs typeface="Arial"/>
              </a:rPr>
              <a:t>and  identifying new  </a:t>
            </a:r>
            <a:r>
              <a:rPr sz="1182" spc="-3" dirty="0">
                <a:solidFill>
                  <a:srgbClr val="353535"/>
                </a:solidFill>
                <a:latin typeface="Arial"/>
                <a:cs typeface="Arial"/>
              </a:rPr>
              <a:t>revenue</a:t>
            </a:r>
            <a:r>
              <a:rPr sz="1182" spc="-42" dirty="0">
                <a:solidFill>
                  <a:srgbClr val="353535"/>
                </a:solidFill>
                <a:latin typeface="Arial"/>
                <a:cs typeface="Arial"/>
              </a:rPr>
              <a:t> </a:t>
            </a:r>
            <a:r>
              <a:rPr sz="1182" spc="27" dirty="0">
                <a:solidFill>
                  <a:srgbClr val="353535"/>
                </a:solidFill>
                <a:latin typeface="Arial"/>
                <a:cs typeface="Arial"/>
              </a:rPr>
              <a:t>growth</a:t>
            </a:r>
            <a:endParaRPr sz="1182">
              <a:solidFill>
                <a:prstClr val="black"/>
              </a:solidFill>
              <a:latin typeface="Arial"/>
              <a:cs typeface="Arial"/>
            </a:endParaRPr>
          </a:p>
        </p:txBody>
      </p:sp>
      <p:sp>
        <p:nvSpPr>
          <p:cNvPr id="50" name="object 50"/>
          <p:cNvSpPr txBox="1"/>
          <p:nvPr/>
        </p:nvSpPr>
        <p:spPr>
          <a:xfrm>
            <a:off x="10481618" y="3412958"/>
            <a:ext cx="1515229" cy="3257751"/>
          </a:xfrm>
          <a:prstGeom prst="rect">
            <a:avLst/>
          </a:prstGeom>
        </p:spPr>
        <p:txBody>
          <a:bodyPr vert="horz" wrap="square" lIns="0" tIns="0" rIns="0" bIns="0" rtlCol="0">
            <a:spAutoFit/>
          </a:bodyPr>
          <a:lstStyle/>
          <a:p>
            <a:pPr marL="7701" marR="137083" defTabSz="554492">
              <a:lnSpc>
                <a:spcPct val="111600"/>
              </a:lnSpc>
            </a:pPr>
            <a:r>
              <a:rPr sz="1182" spc="24" dirty="0">
                <a:solidFill>
                  <a:srgbClr val="353535"/>
                </a:solidFill>
                <a:latin typeface="Arial"/>
                <a:cs typeface="Arial"/>
              </a:rPr>
              <a:t>Model </a:t>
            </a:r>
            <a:r>
              <a:rPr sz="1182" spc="12" dirty="0">
                <a:solidFill>
                  <a:srgbClr val="353535"/>
                </a:solidFill>
                <a:latin typeface="Arial"/>
                <a:cs typeface="Arial"/>
              </a:rPr>
              <a:t>the </a:t>
            </a:r>
            <a:r>
              <a:rPr sz="1182" spc="30" dirty="0">
                <a:solidFill>
                  <a:srgbClr val="353535"/>
                </a:solidFill>
                <a:latin typeface="Arial"/>
                <a:cs typeface="Arial"/>
              </a:rPr>
              <a:t>impact</a:t>
            </a:r>
            <a:r>
              <a:rPr sz="1182" spc="-82" dirty="0">
                <a:solidFill>
                  <a:srgbClr val="353535"/>
                </a:solidFill>
                <a:latin typeface="Arial"/>
                <a:cs typeface="Arial"/>
              </a:rPr>
              <a:t> </a:t>
            </a:r>
            <a:r>
              <a:rPr sz="1182" spc="27" dirty="0">
                <a:solidFill>
                  <a:srgbClr val="353535"/>
                </a:solidFill>
                <a:latin typeface="Arial"/>
                <a:cs typeface="Arial"/>
              </a:rPr>
              <a:t>of  costs </a:t>
            </a:r>
            <a:r>
              <a:rPr sz="1182" spc="15" dirty="0">
                <a:solidFill>
                  <a:srgbClr val="353535"/>
                </a:solidFill>
                <a:latin typeface="Arial"/>
                <a:cs typeface="Arial"/>
              </a:rPr>
              <a:t>and</a:t>
            </a:r>
            <a:r>
              <a:rPr sz="1182" spc="-73" dirty="0">
                <a:solidFill>
                  <a:srgbClr val="353535"/>
                </a:solidFill>
                <a:latin typeface="Arial"/>
                <a:cs typeface="Arial"/>
              </a:rPr>
              <a:t> </a:t>
            </a:r>
            <a:r>
              <a:rPr sz="1182" spc="-3" dirty="0">
                <a:solidFill>
                  <a:srgbClr val="353535"/>
                </a:solidFill>
                <a:latin typeface="Arial"/>
                <a:cs typeface="Arial"/>
              </a:rPr>
              <a:t>value</a:t>
            </a:r>
            <a:endParaRPr sz="1182" dirty="0">
              <a:solidFill>
                <a:prstClr val="black"/>
              </a:solidFill>
              <a:latin typeface="Arial"/>
              <a:cs typeface="Arial"/>
            </a:endParaRPr>
          </a:p>
          <a:p>
            <a:pPr marL="7701" marR="167888" defTabSz="554492">
              <a:lnSpc>
                <a:spcPct val="111600"/>
              </a:lnSpc>
              <a:spcBef>
                <a:spcPts val="549"/>
              </a:spcBef>
            </a:pPr>
            <a:r>
              <a:rPr sz="1182" dirty="0">
                <a:solidFill>
                  <a:srgbClr val="353535"/>
                </a:solidFill>
                <a:latin typeface="Arial"/>
                <a:cs typeface="Arial"/>
              </a:rPr>
              <a:t>Assess </a:t>
            </a:r>
            <a:r>
              <a:rPr sz="1182" spc="18" dirty="0">
                <a:solidFill>
                  <a:srgbClr val="353535"/>
                </a:solidFill>
                <a:latin typeface="Arial"/>
                <a:cs typeface="Arial"/>
              </a:rPr>
              <a:t>price </a:t>
            </a:r>
            <a:r>
              <a:rPr sz="1182" spc="15" dirty="0">
                <a:solidFill>
                  <a:srgbClr val="353535"/>
                </a:solidFill>
                <a:latin typeface="Arial"/>
                <a:cs typeface="Arial"/>
              </a:rPr>
              <a:t>and  </a:t>
            </a:r>
            <a:r>
              <a:rPr sz="1182" spc="-3" dirty="0">
                <a:solidFill>
                  <a:srgbClr val="353535"/>
                </a:solidFill>
                <a:latin typeface="Arial"/>
                <a:cs typeface="Arial"/>
              </a:rPr>
              <a:t>value</a:t>
            </a:r>
            <a:r>
              <a:rPr sz="1182" spc="-55" dirty="0">
                <a:solidFill>
                  <a:srgbClr val="353535"/>
                </a:solidFill>
                <a:latin typeface="Arial"/>
                <a:cs typeface="Arial"/>
              </a:rPr>
              <a:t> </a:t>
            </a:r>
            <a:r>
              <a:rPr sz="1182" spc="3" dirty="0">
                <a:solidFill>
                  <a:srgbClr val="353535"/>
                </a:solidFill>
                <a:latin typeface="Arial"/>
                <a:cs typeface="Arial"/>
              </a:rPr>
              <a:t>realization</a:t>
            </a:r>
            <a:endParaRPr sz="1182" dirty="0">
              <a:solidFill>
                <a:prstClr val="black"/>
              </a:solidFill>
              <a:latin typeface="Arial"/>
              <a:cs typeface="Arial"/>
            </a:endParaRPr>
          </a:p>
          <a:p>
            <a:pPr marL="7701" marR="124761" defTabSz="554492">
              <a:lnSpc>
                <a:spcPct val="111900"/>
              </a:lnSpc>
              <a:spcBef>
                <a:spcPts val="546"/>
              </a:spcBef>
            </a:pPr>
            <a:r>
              <a:rPr sz="1182" spc="6" dirty="0">
                <a:solidFill>
                  <a:srgbClr val="353535"/>
                </a:solidFill>
                <a:latin typeface="Arial"/>
                <a:cs typeface="Arial"/>
              </a:rPr>
              <a:t>Explore </a:t>
            </a:r>
            <a:r>
              <a:rPr sz="1182" spc="9" dirty="0">
                <a:solidFill>
                  <a:srgbClr val="353535"/>
                </a:solidFill>
                <a:latin typeface="Arial"/>
                <a:cs typeface="Arial"/>
              </a:rPr>
              <a:t>further </a:t>
            </a:r>
            <a:r>
              <a:rPr sz="1182" spc="18" dirty="0">
                <a:solidFill>
                  <a:srgbClr val="353535"/>
                </a:solidFill>
                <a:latin typeface="Arial"/>
                <a:cs typeface="Arial"/>
              </a:rPr>
              <a:t>joint  </a:t>
            </a:r>
            <a:r>
              <a:rPr sz="1182" spc="15" dirty="0">
                <a:solidFill>
                  <a:srgbClr val="353535"/>
                </a:solidFill>
                <a:latin typeface="Arial"/>
                <a:cs typeface="Arial"/>
              </a:rPr>
              <a:t>strategic  </a:t>
            </a:r>
            <a:r>
              <a:rPr sz="1182" spc="12" dirty="0">
                <a:solidFill>
                  <a:srgbClr val="353535"/>
                </a:solidFill>
                <a:latin typeface="Arial"/>
                <a:cs typeface="Arial"/>
              </a:rPr>
              <a:t>investments </a:t>
            </a:r>
            <a:r>
              <a:rPr sz="1182" spc="21" dirty="0">
                <a:solidFill>
                  <a:srgbClr val="353535"/>
                </a:solidFill>
                <a:latin typeface="Arial"/>
                <a:cs typeface="Arial"/>
              </a:rPr>
              <a:t>that  </a:t>
            </a:r>
            <a:r>
              <a:rPr sz="1182" spc="12" dirty="0">
                <a:solidFill>
                  <a:srgbClr val="353535"/>
                </a:solidFill>
                <a:latin typeface="Arial"/>
                <a:cs typeface="Arial"/>
              </a:rPr>
              <a:t>can </a:t>
            </a:r>
            <a:r>
              <a:rPr sz="1182" spc="21" dirty="0">
                <a:solidFill>
                  <a:srgbClr val="353535"/>
                </a:solidFill>
                <a:latin typeface="Arial"/>
                <a:cs typeface="Arial"/>
              </a:rPr>
              <a:t>unlock </a:t>
            </a:r>
            <a:r>
              <a:rPr sz="1182" spc="3" dirty="0">
                <a:solidFill>
                  <a:srgbClr val="353535"/>
                </a:solidFill>
                <a:latin typeface="Arial"/>
                <a:cs typeface="Arial"/>
              </a:rPr>
              <a:t>greater  </a:t>
            </a:r>
            <a:r>
              <a:rPr sz="1182" spc="6" dirty="0">
                <a:solidFill>
                  <a:srgbClr val="353535"/>
                </a:solidFill>
                <a:latin typeface="Arial"/>
                <a:cs typeface="Arial"/>
              </a:rPr>
              <a:t>shared</a:t>
            </a:r>
            <a:r>
              <a:rPr sz="1182" spc="-42" dirty="0">
                <a:solidFill>
                  <a:srgbClr val="353535"/>
                </a:solidFill>
                <a:latin typeface="Arial"/>
                <a:cs typeface="Arial"/>
              </a:rPr>
              <a:t> </a:t>
            </a:r>
            <a:r>
              <a:rPr sz="1182" spc="-3" dirty="0">
                <a:solidFill>
                  <a:srgbClr val="353535"/>
                </a:solidFill>
                <a:latin typeface="Arial"/>
                <a:cs typeface="Arial"/>
              </a:rPr>
              <a:t>revenue</a:t>
            </a:r>
            <a:endParaRPr sz="1182" dirty="0">
              <a:solidFill>
                <a:prstClr val="black"/>
              </a:solidFill>
              <a:latin typeface="Arial"/>
              <a:cs typeface="Arial"/>
            </a:endParaRPr>
          </a:p>
          <a:p>
            <a:pPr marL="7701" marR="111669" defTabSz="554492">
              <a:lnSpc>
                <a:spcPct val="111600"/>
              </a:lnSpc>
              <a:spcBef>
                <a:spcPts val="549"/>
              </a:spcBef>
            </a:pPr>
            <a:r>
              <a:rPr sz="1182" spc="12" dirty="0">
                <a:solidFill>
                  <a:srgbClr val="353535"/>
                </a:solidFill>
                <a:latin typeface="Arial"/>
                <a:cs typeface="Arial"/>
              </a:rPr>
              <a:t>Consider </a:t>
            </a:r>
            <a:r>
              <a:rPr sz="1182" spc="21" dirty="0">
                <a:solidFill>
                  <a:srgbClr val="353535"/>
                </a:solidFill>
                <a:latin typeface="Arial"/>
                <a:cs typeface="Arial"/>
              </a:rPr>
              <a:t>networked  </a:t>
            </a:r>
            <a:r>
              <a:rPr sz="1182" spc="15" dirty="0">
                <a:solidFill>
                  <a:srgbClr val="353535"/>
                </a:solidFill>
                <a:latin typeface="Arial"/>
                <a:cs typeface="Arial"/>
              </a:rPr>
              <a:t>ecosystem  </a:t>
            </a:r>
            <a:r>
              <a:rPr sz="1182" spc="9" dirty="0">
                <a:solidFill>
                  <a:srgbClr val="353535"/>
                </a:solidFill>
                <a:latin typeface="Arial"/>
                <a:cs typeface="Arial"/>
              </a:rPr>
              <a:t>expansion </a:t>
            </a:r>
            <a:r>
              <a:rPr sz="1182" spc="36" dirty="0">
                <a:solidFill>
                  <a:srgbClr val="353535"/>
                </a:solidFill>
                <a:latin typeface="Arial"/>
                <a:cs typeface="Arial"/>
              </a:rPr>
              <a:t>to </a:t>
            </a:r>
            <a:r>
              <a:rPr sz="1182" spc="9" dirty="0">
                <a:solidFill>
                  <a:srgbClr val="353535"/>
                </a:solidFill>
                <a:latin typeface="Arial"/>
                <a:cs typeface="Arial"/>
              </a:rPr>
              <a:t>drive  </a:t>
            </a:r>
            <a:r>
              <a:rPr sz="1182" spc="3" dirty="0">
                <a:solidFill>
                  <a:srgbClr val="353535"/>
                </a:solidFill>
                <a:latin typeface="Arial"/>
                <a:cs typeface="Arial"/>
              </a:rPr>
              <a:t>greater </a:t>
            </a:r>
            <a:r>
              <a:rPr sz="1182" spc="15" dirty="0">
                <a:solidFill>
                  <a:srgbClr val="353535"/>
                </a:solidFill>
                <a:latin typeface="Arial"/>
                <a:cs typeface="Arial"/>
              </a:rPr>
              <a:t>new</a:t>
            </a:r>
            <a:r>
              <a:rPr sz="1182" spc="-30" dirty="0">
                <a:solidFill>
                  <a:srgbClr val="353535"/>
                </a:solidFill>
                <a:latin typeface="Arial"/>
                <a:cs typeface="Arial"/>
              </a:rPr>
              <a:t> </a:t>
            </a:r>
            <a:r>
              <a:rPr sz="1182" spc="-3" dirty="0">
                <a:solidFill>
                  <a:srgbClr val="353535"/>
                </a:solidFill>
                <a:latin typeface="Arial"/>
                <a:cs typeface="Arial"/>
              </a:rPr>
              <a:t>revenue  </a:t>
            </a:r>
            <a:r>
              <a:rPr sz="1182" spc="15" dirty="0">
                <a:solidFill>
                  <a:srgbClr val="353535"/>
                </a:solidFill>
                <a:latin typeface="Arial"/>
                <a:cs typeface="Arial"/>
              </a:rPr>
              <a:t>and</a:t>
            </a:r>
            <a:r>
              <a:rPr sz="1182" spc="-49" dirty="0">
                <a:solidFill>
                  <a:srgbClr val="353535"/>
                </a:solidFill>
                <a:latin typeface="Arial"/>
                <a:cs typeface="Arial"/>
              </a:rPr>
              <a:t> </a:t>
            </a:r>
            <a:r>
              <a:rPr sz="1182" spc="27" dirty="0">
                <a:solidFill>
                  <a:srgbClr val="353535"/>
                </a:solidFill>
                <a:latin typeface="Arial"/>
                <a:cs typeface="Arial"/>
              </a:rPr>
              <a:t>growth</a:t>
            </a:r>
          </a:p>
          <a:p>
            <a:pPr marL="421260" defTabSz="554492">
              <a:spcBef>
                <a:spcPts val="864"/>
              </a:spcBef>
            </a:pPr>
            <a:r>
              <a:rPr sz="637" b="1" spc="6" dirty="0">
                <a:solidFill>
                  <a:srgbClr val="00B6CB"/>
                </a:solidFill>
                <a:latin typeface="Arial"/>
                <a:cs typeface="Arial"/>
              </a:rPr>
              <a:t>25</a:t>
            </a:r>
            <a:r>
              <a:rPr sz="637" b="1" spc="15" dirty="0">
                <a:solidFill>
                  <a:srgbClr val="00B6CB"/>
                </a:solidFill>
                <a:latin typeface="Arial"/>
                <a:cs typeface="Arial"/>
              </a:rPr>
              <a:t> </a:t>
            </a:r>
            <a:r>
              <a:rPr sz="637" spc="-21" dirty="0">
                <a:solidFill>
                  <a:srgbClr val="575757"/>
                </a:solidFill>
                <a:latin typeface="Arial"/>
                <a:cs typeface="Arial"/>
              </a:rPr>
              <a:t>| </a:t>
            </a:r>
            <a:r>
              <a:rPr sz="637" spc="33" dirty="0">
                <a:solidFill>
                  <a:srgbClr val="575757"/>
                </a:solidFill>
                <a:latin typeface="Arial"/>
                <a:cs typeface="Arial"/>
              </a:rPr>
              <a:t> </a:t>
            </a:r>
            <a:r>
              <a:rPr sz="637" b="1" spc="55" dirty="0">
                <a:solidFill>
                  <a:srgbClr val="575757"/>
                </a:solidFill>
                <a:latin typeface="Arial"/>
                <a:cs typeface="Arial"/>
              </a:rPr>
              <a:t>IB</a:t>
            </a:r>
            <a:r>
              <a:rPr sz="637" b="1" spc="-85" dirty="0">
                <a:solidFill>
                  <a:srgbClr val="575757"/>
                </a:solidFill>
                <a:latin typeface="Arial"/>
                <a:cs typeface="Arial"/>
              </a:rPr>
              <a:t> </a:t>
            </a:r>
            <a:r>
              <a:rPr sz="637" b="1" spc="58" dirty="0">
                <a:solidFill>
                  <a:srgbClr val="575757"/>
                </a:solidFill>
                <a:latin typeface="Arial"/>
                <a:cs typeface="Arial"/>
              </a:rPr>
              <a:t>M</a:t>
            </a:r>
            <a:r>
              <a:rPr sz="637" b="1" spc="185" dirty="0">
                <a:solidFill>
                  <a:srgbClr val="575757"/>
                </a:solidFill>
                <a:latin typeface="Arial"/>
                <a:cs typeface="Arial"/>
              </a:rPr>
              <a:t> </a:t>
            </a:r>
            <a:r>
              <a:rPr sz="637" spc="36" dirty="0">
                <a:solidFill>
                  <a:srgbClr val="575757"/>
                </a:solidFill>
                <a:latin typeface="Arial"/>
                <a:cs typeface="Arial"/>
              </a:rPr>
              <a:t>CO</a:t>
            </a:r>
            <a:r>
              <a:rPr sz="637" spc="-85" dirty="0">
                <a:solidFill>
                  <a:srgbClr val="575757"/>
                </a:solidFill>
                <a:latin typeface="Arial"/>
                <a:cs typeface="Arial"/>
              </a:rPr>
              <a:t> </a:t>
            </a:r>
            <a:r>
              <a:rPr sz="637" spc="-21" dirty="0">
                <a:solidFill>
                  <a:srgbClr val="575757"/>
                </a:solidFill>
                <a:latin typeface="Arial"/>
                <a:cs typeface="Arial"/>
              </a:rPr>
              <a:t>N</a:t>
            </a:r>
            <a:r>
              <a:rPr sz="637" spc="-82" dirty="0">
                <a:solidFill>
                  <a:srgbClr val="575757"/>
                </a:solidFill>
                <a:latin typeface="Arial"/>
                <a:cs typeface="Arial"/>
              </a:rPr>
              <a:t> </a:t>
            </a:r>
            <a:r>
              <a:rPr sz="637" spc="-58" dirty="0">
                <a:solidFill>
                  <a:srgbClr val="575757"/>
                </a:solidFill>
                <a:latin typeface="Arial"/>
                <a:cs typeface="Arial"/>
              </a:rPr>
              <a:t>F</a:t>
            </a:r>
            <a:r>
              <a:rPr sz="637" spc="-88" dirty="0">
                <a:solidFill>
                  <a:srgbClr val="575757"/>
                </a:solidFill>
                <a:latin typeface="Arial"/>
                <a:cs typeface="Arial"/>
              </a:rPr>
              <a:t> </a:t>
            </a:r>
            <a:r>
              <a:rPr sz="637" spc="-67" dirty="0">
                <a:solidFill>
                  <a:srgbClr val="575757"/>
                </a:solidFill>
                <a:latin typeface="Arial"/>
                <a:cs typeface="Arial"/>
              </a:rPr>
              <a:t>I</a:t>
            </a:r>
            <a:r>
              <a:rPr sz="637" spc="-82" dirty="0">
                <a:solidFill>
                  <a:srgbClr val="575757"/>
                </a:solidFill>
                <a:latin typeface="Arial"/>
                <a:cs typeface="Arial"/>
              </a:rPr>
              <a:t> </a:t>
            </a:r>
            <a:r>
              <a:rPr sz="637" spc="-27" dirty="0">
                <a:solidFill>
                  <a:srgbClr val="575757"/>
                </a:solidFill>
                <a:latin typeface="Arial"/>
                <a:cs typeface="Arial"/>
              </a:rPr>
              <a:t>D</a:t>
            </a:r>
            <a:r>
              <a:rPr sz="637" spc="-85" dirty="0">
                <a:solidFill>
                  <a:srgbClr val="575757"/>
                </a:solidFill>
                <a:latin typeface="Arial"/>
                <a:cs typeface="Arial"/>
              </a:rPr>
              <a:t> </a:t>
            </a:r>
            <a:r>
              <a:rPr sz="637" spc="6" dirty="0">
                <a:solidFill>
                  <a:srgbClr val="575757"/>
                </a:solidFill>
                <a:latin typeface="Arial"/>
                <a:cs typeface="Arial"/>
              </a:rPr>
              <a:t>EN</a:t>
            </a:r>
            <a:r>
              <a:rPr sz="637" spc="-82" dirty="0">
                <a:solidFill>
                  <a:srgbClr val="575757"/>
                </a:solidFill>
                <a:latin typeface="Arial"/>
                <a:cs typeface="Arial"/>
              </a:rPr>
              <a:t> </a:t>
            </a:r>
            <a:r>
              <a:rPr sz="637" spc="-55" dirty="0">
                <a:solidFill>
                  <a:srgbClr val="575757"/>
                </a:solidFill>
                <a:latin typeface="Arial"/>
                <a:cs typeface="Arial"/>
              </a:rPr>
              <a:t>T</a:t>
            </a:r>
            <a:r>
              <a:rPr sz="637" spc="-85" dirty="0">
                <a:solidFill>
                  <a:srgbClr val="575757"/>
                </a:solidFill>
                <a:latin typeface="Arial"/>
                <a:cs typeface="Arial"/>
              </a:rPr>
              <a:t> </a:t>
            </a:r>
            <a:r>
              <a:rPr sz="637" spc="-67" dirty="0">
                <a:solidFill>
                  <a:srgbClr val="575757"/>
                </a:solidFill>
                <a:latin typeface="Arial"/>
                <a:cs typeface="Arial"/>
              </a:rPr>
              <a:t>I</a:t>
            </a:r>
            <a:r>
              <a:rPr sz="637" spc="-82" dirty="0">
                <a:solidFill>
                  <a:srgbClr val="575757"/>
                </a:solidFill>
                <a:latin typeface="Arial"/>
                <a:cs typeface="Arial"/>
              </a:rPr>
              <a:t> </a:t>
            </a:r>
            <a:r>
              <a:rPr sz="637" spc="-39" dirty="0">
                <a:solidFill>
                  <a:srgbClr val="575757"/>
                </a:solidFill>
                <a:latin typeface="Arial"/>
                <a:cs typeface="Arial"/>
              </a:rPr>
              <a:t>A</a:t>
            </a:r>
            <a:r>
              <a:rPr sz="637" spc="-82" dirty="0">
                <a:solidFill>
                  <a:srgbClr val="575757"/>
                </a:solidFill>
                <a:latin typeface="Arial"/>
                <a:cs typeface="Arial"/>
              </a:rPr>
              <a:t> </a:t>
            </a:r>
            <a:r>
              <a:rPr sz="637" spc="-30" dirty="0">
                <a:solidFill>
                  <a:srgbClr val="575757"/>
                </a:solidFill>
                <a:latin typeface="Arial"/>
                <a:cs typeface="Arial"/>
              </a:rPr>
              <a:t>L</a:t>
            </a:r>
            <a:endParaRPr sz="637" dirty="0">
              <a:solidFill>
                <a:prstClr val="black"/>
              </a:solidFill>
              <a:latin typeface="Arial"/>
              <a:cs typeface="Arial"/>
            </a:endParaRPr>
          </a:p>
        </p:txBody>
      </p:sp>
      <p:sp>
        <p:nvSpPr>
          <p:cNvPr id="51" name="object 51"/>
          <p:cNvSpPr/>
          <p:nvPr/>
        </p:nvSpPr>
        <p:spPr>
          <a:xfrm>
            <a:off x="11158626" y="2009619"/>
            <a:ext cx="0" cy="911448"/>
          </a:xfrm>
          <a:custGeom>
            <a:avLst/>
            <a:gdLst/>
            <a:ahLst/>
            <a:cxnLst/>
            <a:rect l="l" t="t" r="r" b="b"/>
            <a:pathLst>
              <a:path h="1503045">
                <a:moveTo>
                  <a:pt x="0" y="1502523"/>
                </a:moveTo>
                <a:lnTo>
                  <a:pt x="0" y="0"/>
                </a:lnTo>
              </a:path>
            </a:pathLst>
          </a:custGeom>
          <a:ln w="20941">
            <a:solidFill>
              <a:srgbClr val="FFFFFF"/>
            </a:solidFill>
          </a:ln>
        </p:spPr>
        <p:txBody>
          <a:bodyPr wrap="square" lIns="0" tIns="0" rIns="0" bIns="0" rtlCol="0"/>
          <a:lstStyle/>
          <a:p>
            <a:pPr defTabSz="554492"/>
            <a:endParaRPr sz="1092">
              <a:solidFill>
                <a:prstClr val="black"/>
              </a:solidFill>
            </a:endParaRPr>
          </a:p>
        </p:txBody>
      </p:sp>
      <p:sp>
        <p:nvSpPr>
          <p:cNvPr id="52" name="object 52"/>
          <p:cNvSpPr/>
          <p:nvPr/>
        </p:nvSpPr>
        <p:spPr>
          <a:xfrm>
            <a:off x="10791940" y="1352398"/>
            <a:ext cx="685800" cy="685800"/>
          </a:xfrm>
          <a:custGeom>
            <a:avLst/>
            <a:gdLst/>
            <a:ahLst/>
            <a:cxnLst/>
            <a:rect l="l" t="t" r="r" b="b"/>
            <a:pathLst>
              <a:path w="1130934" h="1130935">
                <a:moveTo>
                  <a:pt x="565427" y="0"/>
                </a:moveTo>
                <a:lnTo>
                  <a:pt x="516630" y="2075"/>
                </a:lnTo>
                <a:lnTo>
                  <a:pt x="468988" y="8188"/>
                </a:lnTo>
                <a:lnTo>
                  <a:pt x="422669" y="18170"/>
                </a:lnTo>
                <a:lnTo>
                  <a:pt x="377844" y="31849"/>
                </a:lnTo>
                <a:lnTo>
                  <a:pt x="334683" y="49058"/>
                </a:lnTo>
                <a:lnTo>
                  <a:pt x="293354" y="69625"/>
                </a:lnTo>
                <a:lnTo>
                  <a:pt x="254027" y="93381"/>
                </a:lnTo>
                <a:lnTo>
                  <a:pt x="216873" y="120157"/>
                </a:lnTo>
                <a:lnTo>
                  <a:pt x="182059" y="149783"/>
                </a:lnTo>
                <a:lnTo>
                  <a:pt x="149757" y="182088"/>
                </a:lnTo>
                <a:lnTo>
                  <a:pt x="120135" y="216904"/>
                </a:lnTo>
                <a:lnTo>
                  <a:pt x="93363" y="254060"/>
                </a:lnTo>
                <a:lnTo>
                  <a:pt x="69610" y="293386"/>
                </a:lnTo>
                <a:lnTo>
                  <a:pt x="49047" y="334714"/>
                </a:lnTo>
                <a:lnTo>
                  <a:pt x="31842" y="377873"/>
                </a:lnTo>
                <a:lnTo>
                  <a:pt x="18165" y="422694"/>
                </a:lnTo>
                <a:lnTo>
                  <a:pt x="8186" y="469006"/>
                </a:lnTo>
                <a:lnTo>
                  <a:pt x="2074" y="516641"/>
                </a:lnTo>
                <a:lnTo>
                  <a:pt x="0" y="565427"/>
                </a:lnTo>
                <a:lnTo>
                  <a:pt x="2074" y="614214"/>
                </a:lnTo>
                <a:lnTo>
                  <a:pt x="8186" y="661848"/>
                </a:lnTo>
                <a:lnTo>
                  <a:pt x="18165" y="708161"/>
                </a:lnTo>
                <a:lnTo>
                  <a:pt x="31842" y="752981"/>
                </a:lnTo>
                <a:lnTo>
                  <a:pt x="49047" y="796140"/>
                </a:lnTo>
                <a:lnTo>
                  <a:pt x="69610" y="837468"/>
                </a:lnTo>
                <a:lnTo>
                  <a:pt x="93363" y="876795"/>
                </a:lnTo>
                <a:lnTo>
                  <a:pt x="120135" y="913951"/>
                </a:lnTo>
                <a:lnTo>
                  <a:pt x="149757" y="948767"/>
                </a:lnTo>
                <a:lnTo>
                  <a:pt x="182059" y="981072"/>
                </a:lnTo>
                <a:lnTo>
                  <a:pt x="216873" y="1010697"/>
                </a:lnTo>
                <a:lnTo>
                  <a:pt x="254027" y="1037473"/>
                </a:lnTo>
                <a:lnTo>
                  <a:pt x="293354" y="1061230"/>
                </a:lnTo>
                <a:lnTo>
                  <a:pt x="334683" y="1081797"/>
                </a:lnTo>
                <a:lnTo>
                  <a:pt x="377844" y="1099005"/>
                </a:lnTo>
                <a:lnTo>
                  <a:pt x="422669" y="1112685"/>
                </a:lnTo>
                <a:lnTo>
                  <a:pt x="468988" y="1122666"/>
                </a:lnTo>
                <a:lnTo>
                  <a:pt x="516630" y="1128780"/>
                </a:lnTo>
                <a:lnTo>
                  <a:pt x="565427" y="1130855"/>
                </a:lnTo>
                <a:lnTo>
                  <a:pt x="614210" y="1128780"/>
                </a:lnTo>
                <a:lnTo>
                  <a:pt x="661840" y="1122666"/>
                </a:lnTo>
                <a:lnTo>
                  <a:pt x="708150" y="1112685"/>
                </a:lnTo>
                <a:lnTo>
                  <a:pt x="752969" y="1099005"/>
                </a:lnTo>
                <a:lnTo>
                  <a:pt x="796127" y="1081797"/>
                </a:lnTo>
                <a:lnTo>
                  <a:pt x="837454" y="1061230"/>
                </a:lnTo>
                <a:lnTo>
                  <a:pt x="876781" y="1037473"/>
                </a:lnTo>
                <a:lnTo>
                  <a:pt x="913938" y="1010697"/>
                </a:lnTo>
                <a:lnTo>
                  <a:pt x="948754" y="981072"/>
                </a:lnTo>
                <a:lnTo>
                  <a:pt x="981061" y="948767"/>
                </a:lnTo>
                <a:lnTo>
                  <a:pt x="1010688" y="913951"/>
                </a:lnTo>
                <a:lnTo>
                  <a:pt x="1037465" y="876795"/>
                </a:lnTo>
                <a:lnTo>
                  <a:pt x="1061223" y="837468"/>
                </a:lnTo>
                <a:lnTo>
                  <a:pt x="1081792" y="796140"/>
                </a:lnTo>
                <a:lnTo>
                  <a:pt x="1099002" y="752981"/>
                </a:lnTo>
                <a:lnTo>
                  <a:pt x="1112683" y="708161"/>
                </a:lnTo>
                <a:lnTo>
                  <a:pt x="1122665" y="661848"/>
                </a:lnTo>
                <a:lnTo>
                  <a:pt x="1128779" y="614214"/>
                </a:lnTo>
                <a:lnTo>
                  <a:pt x="1130855" y="565427"/>
                </a:lnTo>
                <a:lnTo>
                  <a:pt x="1128779" y="516641"/>
                </a:lnTo>
                <a:lnTo>
                  <a:pt x="1122665" y="469006"/>
                </a:lnTo>
                <a:lnTo>
                  <a:pt x="1112683" y="422694"/>
                </a:lnTo>
                <a:lnTo>
                  <a:pt x="1099002" y="377873"/>
                </a:lnTo>
                <a:lnTo>
                  <a:pt x="1081792" y="334714"/>
                </a:lnTo>
                <a:lnTo>
                  <a:pt x="1061223" y="293386"/>
                </a:lnTo>
                <a:lnTo>
                  <a:pt x="1037465" y="254060"/>
                </a:lnTo>
                <a:lnTo>
                  <a:pt x="1010688" y="216904"/>
                </a:lnTo>
                <a:lnTo>
                  <a:pt x="981061" y="182088"/>
                </a:lnTo>
                <a:lnTo>
                  <a:pt x="948754" y="149783"/>
                </a:lnTo>
                <a:lnTo>
                  <a:pt x="913938" y="120157"/>
                </a:lnTo>
                <a:lnTo>
                  <a:pt x="876781" y="93381"/>
                </a:lnTo>
                <a:lnTo>
                  <a:pt x="837454" y="69625"/>
                </a:lnTo>
                <a:lnTo>
                  <a:pt x="796127" y="49058"/>
                </a:lnTo>
                <a:lnTo>
                  <a:pt x="752969" y="31849"/>
                </a:lnTo>
                <a:lnTo>
                  <a:pt x="708150" y="18170"/>
                </a:lnTo>
                <a:lnTo>
                  <a:pt x="661840" y="8188"/>
                </a:lnTo>
                <a:lnTo>
                  <a:pt x="614210" y="2075"/>
                </a:lnTo>
                <a:lnTo>
                  <a:pt x="565427"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53" name="object 53"/>
          <p:cNvSpPr/>
          <p:nvPr/>
        </p:nvSpPr>
        <p:spPr>
          <a:xfrm>
            <a:off x="10935694" y="1522395"/>
            <a:ext cx="376978" cy="342707"/>
          </a:xfrm>
          <a:custGeom>
            <a:avLst/>
            <a:gdLst/>
            <a:ahLst/>
            <a:cxnLst/>
            <a:rect l="l" t="t" r="r" b="b"/>
            <a:pathLst>
              <a:path w="621665" h="565150">
                <a:moveTo>
                  <a:pt x="494330" y="211888"/>
                </a:moveTo>
                <a:lnTo>
                  <a:pt x="470042" y="216184"/>
                </a:lnTo>
                <a:lnTo>
                  <a:pt x="449397" y="228053"/>
                </a:lnTo>
                <a:lnTo>
                  <a:pt x="433915" y="245964"/>
                </a:lnTo>
                <a:lnTo>
                  <a:pt x="425117" y="268389"/>
                </a:lnTo>
                <a:lnTo>
                  <a:pt x="6282" y="268389"/>
                </a:lnTo>
                <a:lnTo>
                  <a:pt x="0" y="274724"/>
                </a:lnTo>
                <a:lnTo>
                  <a:pt x="0" y="290315"/>
                </a:lnTo>
                <a:lnTo>
                  <a:pt x="6282" y="296640"/>
                </a:lnTo>
                <a:lnTo>
                  <a:pt x="425117" y="296640"/>
                </a:lnTo>
                <a:lnTo>
                  <a:pt x="433915" y="319066"/>
                </a:lnTo>
                <a:lnTo>
                  <a:pt x="449397" y="336981"/>
                </a:lnTo>
                <a:lnTo>
                  <a:pt x="470042" y="348853"/>
                </a:lnTo>
                <a:lnTo>
                  <a:pt x="494330" y="353151"/>
                </a:lnTo>
                <a:lnTo>
                  <a:pt x="518632" y="348853"/>
                </a:lnTo>
                <a:lnTo>
                  <a:pt x="539302" y="336981"/>
                </a:lnTo>
                <a:lnTo>
                  <a:pt x="549755" y="324890"/>
                </a:lnTo>
                <a:lnTo>
                  <a:pt x="494330" y="324890"/>
                </a:lnTo>
                <a:lnTo>
                  <a:pt x="477853" y="321558"/>
                </a:lnTo>
                <a:lnTo>
                  <a:pt x="464370" y="312474"/>
                </a:lnTo>
                <a:lnTo>
                  <a:pt x="455265" y="299004"/>
                </a:lnTo>
                <a:lnTo>
                  <a:pt x="451923" y="282514"/>
                </a:lnTo>
                <a:lnTo>
                  <a:pt x="455265" y="266029"/>
                </a:lnTo>
                <a:lnTo>
                  <a:pt x="464370" y="252559"/>
                </a:lnTo>
                <a:lnTo>
                  <a:pt x="477853" y="243472"/>
                </a:lnTo>
                <a:lnTo>
                  <a:pt x="494330" y="240139"/>
                </a:lnTo>
                <a:lnTo>
                  <a:pt x="549753" y="240139"/>
                </a:lnTo>
                <a:lnTo>
                  <a:pt x="539302" y="228053"/>
                </a:lnTo>
                <a:lnTo>
                  <a:pt x="518632" y="216184"/>
                </a:lnTo>
                <a:lnTo>
                  <a:pt x="494330" y="211888"/>
                </a:lnTo>
                <a:close/>
              </a:path>
              <a:path w="621665" h="565150">
                <a:moveTo>
                  <a:pt x="549753" y="240139"/>
                </a:moveTo>
                <a:lnTo>
                  <a:pt x="494330" y="240139"/>
                </a:lnTo>
                <a:lnTo>
                  <a:pt x="510851" y="243472"/>
                </a:lnTo>
                <a:lnTo>
                  <a:pt x="524329" y="252559"/>
                </a:lnTo>
                <a:lnTo>
                  <a:pt x="533409" y="266029"/>
                </a:lnTo>
                <a:lnTo>
                  <a:pt x="536737" y="282514"/>
                </a:lnTo>
                <a:lnTo>
                  <a:pt x="533409" y="299004"/>
                </a:lnTo>
                <a:lnTo>
                  <a:pt x="524329" y="312474"/>
                </a:lnTo>
                <a:lnTo>
                  <a:pt x="510851" y="321558"/>
                </a:lnTo>
                <a:lnTo>
                  <a:pt x="494330" y="324890"/>
                </a:lnTo>
                <a:lnTo>
                  <a:pt x="549755" y="324890"/>
                </a:lnTo>
                <a:lnTo>
                  <a:pt x="554790" y="319066"/>
                </a:lnTo>
                <a:lnTo>
                  <a:pt x="563543" y="296640"/>
                </a:lnTo>
                <a:lnTo>
                  <a:pt x="615164" y="296640"/>
                </a:lnTo>
                <a:lnTo>
                  <a:pt x="621447" y="290315"/>
                </a:lnTo>
                <a:lnTo>
                  <a:pt x="621447" y="274724"/>
                </a:lnTo>
                <a:lnTo>
                  <a:pt x="615164" y="268389"/>
                </a:lnTo>
                <a:lnTo>
                  <a:pt x="563543" y="268389"/>
                </a:lnTo>
                <a:lnTo>
                  <a:pt x="554790" y="245964"/>
                </a:lnTo>
                <a:lnTo>
                  <a:pt x="549753" y="240139"/>
                </a:lnTo>
                <a:close/>
              </a:path>
              <a:path w="621665" h="565150">
                <a:moveTo>
                  <a:pt x="155387" y="0"/>
                </a:moveTo>
                <a:lnTo>
                  <a:pt x="131041" y="4296"/>
                </a:lnTo>
                <a:lnTo>
                  <a:pt x="110376" y="16164"/>
                </a:lnTo>
                <a:lnTo>
                  <a:pt x="94913" y="34075"/>
                </a:lnTo>
                <a:lnTo>
                  <a:pt x="86175" y="56500"/>
                </a:lnTo>
                <a:lnTo>
                  <a:pt x="6282" y="56500"/>
                </a:lnTo>
                <a:lnTo>
                  <a:pt x="0" y="62835"/>
                </a:lnTo>
                <a:lnTo>
                  <a:pt x="0" y="78447"/>
                </a:lnTo>
                <a:lnTo>
                  <a:pt x="6282" y="84751"/>
                </a:lnTo>
                <a:lnTo>
                  <a:pt x="86175" y="84751"/>
                </a:lnTo>
                <a:lnTo>
                  <a:pt x="94913" y="107178"/>
                </a:lnTo>
                <a:lnTo>
                  <a:pt x="110376" y="125093"/>
                </a:lnTo>
                <a:lnTo>
                  <a:pt x="131041" y="136965"/>
                </a:lnTo>
                <a:lnTo>
                  <a:pt x="155387" y="141262"/>
                </a:lnTo>
                <a:lnTo>
                  <a:pt x="179675" y="136965"/>
                </a:lnTo>
                <a:lnTo>
                  <a:pt x="200321" y="125093"/>
                </a:lnTo>
                <a:lnTo>
                  <a:pt x="210770" y="113001"/>
                </a:lnTo>
                <a:lnTo>
                  <a:pt x="155387" y="113001"/>
                </a:lnTo>
                <a:lnTo>
                  <a:pt x="138866" y="109673"/>
                </a:lnTo>
                <a:lnTo>
                  <a:pt x="125388" y="100593"/>
                </a:lnTo>
                <a:lnTo>
                  <a:pt x="116308" y="87124"/>
                </a:lnTo>
                <a:lnTo>
                  <a:pt x="112980" y="70626"/>
                </a:lnTo>
                <a:lnTo>
                  <a:pt x="116308" y="54140"/>
                </a:lnTo>
                <a:lnTo>
                  <a:pt x="125388" y="40670"/>
                </a:lnTo>
                <a:lnTo>
                  <a:pt x="138866" y="31583"/>
                </a:lnTo>
                <a:lnTo>
                  <a:pt x="155387" y="28250"/>
                </a:lnTo>
                <a:lnTo>
                  <a:pt x="210767" y="28250"/>
                </a:lnTo>
                <a:lnTo>
                  <a:pt x="200321" y="16164"/>
                </a:lnTo>
                <a:lnTo>
                  <a:pt x="179675" y="4296"/>
                </a:lnTo>
                <a:lnTo>
                  <a:pt x="155387" y="0"/>
                </a:lnTo>
                <a:close/>
              </a:path>
              <a:path w="621665" h="565150">
                <a:moveTo>
                  <a:pt x="210767" y="28250"/>
                </a:moveTo>
                <a:lnTo>
                  <a:pt x="155387" y="28250"/>
                </a:lnTo>
                <a:lnTo>
                  <a:pt x="171848" y="31583"/>
                </a:lnTo>
                <a:lnTo>
                  <a:pt x="185295" y="40670"/>
                </a:lnTo>
                <a:lnTo>
                  <a:pt x="194364" y="54140"/>
                </a:lnTo>
                <a:lnTo>
                  <a:pt x="197690" y="70626"/>
                </a:lnTo>
                <a:lnTo>
                  <a:pt x="194364" y="87124"/>
                </a:lnTo>
                <a:lnTo>
                  <a:pt x="185295" y="100593"/>
                </a:lnTo>
                <a:lnTo>
                  <a:pt x="171848" y="109673"/>
                </a:lnTo>
                <a:lnTo>
                  <a:pt x="155387" y="113001"/>
                </a:lnTo>
                <a:lnTo>
                  <a:pt x="210770" y="113001"/>
                </a:lnTo>
                <a:lnTo>
                  <a:pt x="215803" y="107178"/>
                </a:lnTo>
                <a:lnTo>
                  <a:pt x="224600" y="84751"/>
                </a:lnTo>
                <a:lnTo>
                  <a:pt x="615164" y="84751"/>
                </a:lnTo>
                <a:lnTo>
                  <a:pt x="621447" y="78447"/>
                </a:lnTo>
                <a:lnTo>
                  <a:pt x="621447" y="62835"/>
                </a:lnTo>
                <a:lnTo>
                  <a:pt x="615164" y="56500"/>
                </a:lnTo>
                <a:lnTo>
                  <a:pt x="224600" y="56500"/>
                </a:lnTo>
                <a:lnTo>
                  <a:pt x="215803" y="34075"/>
                </a:lnTo>
                <a:lnTo>
                  <a:pt x="210767" y="28250"/>
                </a:lnTo>
                <a:close/>
              </a:path>
              <a:path w="621665" h="565150">
                <a:moveTo>
                  <a:pt x="268368" y="423756"/>
                </a:moveTo>
                <a:lnTo>
                  <a:pt x="244066" y="428052"/>
                </a:lnTo>
                <a:lnTo>
                  <a:pt x="223396" y="439921"/>
                </a:lnTo>
                <a:lnTo>
                  <a:pt x="207909" y="457832"/>
                </a:lnTo>
                <a:lnTo>
                  <a:pt x="199156" y="480257"/>
                </a:lnTo>
                <a:lnTo>
                  <a:pt x="6282" y="480257"/>
                </a:lnTo>
                <a:lnTo>
                  <a:pt x="0" y="486582"/>
                </a:lnTo>
                <a:lnTo>
                  <a:pt x="0" y="502204"/>
                </a:lnTo>
                <a:lnTo>
                  <a:pt x="6282" y="508508"/>
                </a:lnTo>
                <a:lnTo>
                  <a:pt x="199156" y="508508"/>
                </a:lnTo>
                <a:lnTo>
                  <a:pt x="207909" y="530946"/>
                </a:lnTo>
                <a:lnTo>
                  <a:pt x="223396" y="548868"/>
                </a:lnTo>
                <a:lnTo>
                  <a:pt x="244066" y="560742"/>
                </a:lnTo>
                <a:lnTo>
                  <a:pt x="268368" y="565040"/>
                </a:lnTo>
                <a:lnTo>
                  <a:pt x="292656" y="560742"/>
                </a:lnTo>
                <a:lnTo>
                  <a:pt x="313301" y="548868"/>
                </a:lnTo>
                <a:lnTo>
                  <a:pt x="323763" y="536758"/>
                </a:lnTo>
                <a:lnTo>
                  <a:pt x="268368" y="536758"/>
                </a:lnTo>
                <a:lnTo>
                  <a:pt x="251847" y="533429"/>
                </a:lnTo>
                <a:lnTo>
                  <a:pt x="238369" y="524350"/>
                </a:lnTo>
                <a:lnTo>
                  <a:pt x="229289" y="510881"/>
                </a:lnTo>
                <a:lnTo>
                  <a:pt x="225961" y="494382"/>
                </a:lnTo>
                <a:lnTo>
                  <a:pt x="229289" y="477893"/>
                </a:lnTo>
                <a:lnTo>
                  <a:pt x="238369" y="464423"/>
                </a:lnTo>
                <a:lnTo>
                  <a:pt x="251847" y="455338"/>
                </a:lnTo>
                <a:lnTo>
                  <a:pt x="268368" y="452007"/>
                </a:lnTo>
                <a:lnTo>
                  <a:pt x="323748" y="452007"/>
                </a:lnTo>
                <a:lnTo>
                  <a:pt x="313301" y="439921"/>
                </a:lnTo>
                <a:lnTo>
                  <a:pt x="292656" y="428052"/>
                </a:lnTo>
                <a:lnTo>
                  <a:pt x="268368" y="423756"/>
                </a:lnTo>
                <a:close/>
              </a:path>
              <a:path w="621665" h="565150">
                <a:moveTo>
                  <a:pt x="323748" y="452007"/>
                </a:moveTo>
                <a:lnTo>
                  <a:pt x="268368" y="452007"/>
                </a:lnTo>
                <a:lnTo>
                  <a:pt x="284829" y="455338"/>
                </a:lnTo>
                <a:lnTo>
                  <a:pt x="298276" y="464423"/>
                </a:lnTo>
                <a:lnTo>
                  <a:pt x="307345" y="477893"/>
                </a:lnTo>
                <a:lnTo>
                  <a:pt x="310671" y="494382"/>
                </a:lnTo>
                <a:lnTo>
                  <a:pt x="307345" y="510881"/>
                </a:lnTo>
                <a:lnTo>
                  <a:pt x="298276" y="524350"/>
                </a:lnTo>
                <a:lnTo>
                  <a:pt x="284829" y="533429"/>
                </a:lnTo>
                <a:lnTo>
                  <a:pt x="268368" y="536758"/>
                </a:lnTo>
                <a:lnTo>
                  <a:pt x="323763" y="536758"/>
                </a:lnTo>
                <a:lnTo>
                  <a:pt x="328784" y="530946"/>
                </a:lnTo>
                <a:lnTo>
                  <a:pt x="337581" y="508508"/>
                </a:lnTo>
                <a:lnTo>
                  <a:pt x="615164" y="508508"/>
                </a:lnTo>
                <a:lnTo>
                  <a:pt x="621447" y="502204"/>
                </a:lnTo>
                <a:lnTo>
                  <a:pt x="621447" y="486582"/>
                </a:lnTo>
                <a:lnTo>
                  <a:pt x="615164" y="480257"/>
                </a:lnTo>
                <a:lnTo>
                  <a:pt x="337581" y="480257"/>
                </a:lnTo>
                <a:lnTo>
                  <a:pt x="328784" y="457832"/>
                </a:lnTo>
                <a:lnTo>
                  <a:pt x="323748" y="452007"/>
                </a:lnTo>
                <a:close/>
              </a:path>
            </a:pathLst>
          </a:custGeom>
          <a:solidFill>
            <a:srgbClr val="FFFFFF"/>
          </a:solidFill>
        </p:spPr>
        <p:txBody>
          <a:bodyPr wrap="square" lIns="0" tIns="0" rIns="0" bIns="0" rtlCol="0"/>
          <a:lstStyle/>
          <a:p>
            <a:pPr defTabSz="554492"/>
            <a:endParaRPr sz="1092">
              <a:solidFill>
                <a:prstClr val="black"/>
              </a:solidFill>
            </a:endParaRPr>
          </a:p>
        </p:txBody>
      </p:sp>
      <p:sp>
        <p:nvSpPr>
          <p:cNvPr id="54" name="object 54"/>
          <p:cNvSpPr/>
          <p:nvPr/>
        </p:nvSpPr>
        <p:spPr>
          <a:xfrm>
            <a:off x="11209794" y="1668016"/>
            <a:ext cx="51599" cy="51599"/>
          </a:xfrm>
          <a:custGeom>
            <a:avLst/>
            <a:gdLst/>
            <a:ahLst/>
            <a:cxnLst/>
            <a:rect l="l" t="t" r="r" b="b"/>
            <a:pathLst>
              <a:path w="85090" h="85089">
                <a:moveTo>
                  <a:pt x="42384" y="84755"/>
                </a:moveTo>
                <a:lnTo>
                  <a:pt x="25880" y="81422"/>
                </a:lnTo>
                <a:lnTo>
                  <a:pt x="12408" y="72336"/>
                </a:lnTo>
                <a:lnTo>
                  <a:pt x="3328" y="58865"/>
                </a:lnTo>
                <a:lnTo>
                  <a:pt x="0" y="42377"/>
                </a:lnTo>
                <a:lnTo>
                  <a:pt x="3328" y="25889"/>
                </a:lnTo>
                <a:lnTo>
                  <a:pt x="12408" y="12418"/>
                </a:lnTo>
                <a:lnTo>
                  <a:pt x="25880" y="3332"/>
                </a:lnTo>
                <a:lnTo>
                  <a:pt x="42384" y="0"/>
                </a:lnTo>
                <a:lnTo>
                  <a:pt x="58875" y="3332"/>
                </a:lnTo>
                <a:lnTo>
                  <a:pt x="72348" y="12418"/>
                </a:lnTo>
                <a:lnTo>
                  <a:pt x="81435" y="25889"/>
                </a:lnTo>
                <a:lnTo>
                  <a:pt x="84768" y="42377"/>
                </a:lnTo>
                <a:lnTo>
                  <a:pt x="81435" y="58865"/>
                </a:lnTo>
                <a:lnTo>
                  <a:pt x="72348" y="72336"/>
                </a:lnTo>
                <a:lnTo>
                  <a:pt x="58875" y="81422"/>
                </a:lnTo>
                <a:lnTo>
                  <a:pt x="42384" y="84755"/>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55" name="object 55"/>
          <p:cNvSpPr/>
          <p:nvPr/>
        </p:nvSpPr>
        <p:spPr>
          <a:xfrm>
            <a:off x="10935694" y="1650885"/>
            <a:ext cx="376978" cy="85869"/>
          </a:xfrm>
          <a:custGeom>
            <a:avLst/>
            <a:gdLst/>
            <a:ahLst/>
            <a:cxnLst/>
            <a:rect l="l" t="t" r="r" b="b"/>
            <a:pathLst>
              <a:path w="621665" h="141605">
                <a:moveTo>
                  <a:pt x="607392" y="56504"/>
                </a:moveTo>
                <a:lnTo>
                  <a:pt x="563598" y="56504"/>
                </a:lnTo>
                <a:lnTo>
                  <a:pt x="554833" y="34079"/>
                </a:lnTo>
                <a:lnTo>
                  <a:pt x="539356" y="16166"/>
                </a:lnTo>
                <a:lnTo>
                  <a:pt x="518700" y="4296"/>
                </a:lnTo>
                <a:lnTo>
                  <a:pt x="494396" y="0"/>
                </a:lnTo>
                <a:lnTo>
                  <a:pt x="470081" y="4296"/>
                </a:lnTo>
                <a:lnTo>
                  <a:pt x="449426" y="16166"/>
                </a:lnTo>
                <a:lnTo>
                  <a:pt x="433956" y="34079"/>
                </a:lnTo>
                <a:lnTo>
                  <a:pt x="425194" y="56504"/>
                </a:lnTo>
                <a:lnTo>
                  <a:pt x="14128" y="56504"/>
                </a:lnTo>
                <a:lnTo>
                  <a:pt x="6330" y="56504"/>
                </a:lnTo>
                <a:lnTo>
                  <a:pt x="0" y="62834"/>
                </a:lnTo>
                <a:lnTo>
                  <a:pt x="0" y="70629"/>
                </a:lnTo>
                <a:lnTo>
                  <a:pt x="0" y="78425"/>
                </a:lnTo>
                <a:lnTo>
                  <a:pt x="6330" y="84756"/>
                </a:lnTo>
                <a:lnTo>
                  <a:pt x="14128" y="84756"/>
                </a:lnTo>
                <a:lnTo>
                  <a:pt x="425194" y="84756"/>
                </a:lnTo>
                <a:lnTo>
                  <a:pt x="433956" y="107181"/>
                </a:lnTo>
                <a:lnTo>
                  <a:pt x="449426" y="125094"/>
                </a:lnTo>
                <a:lnTo>
                  <a:pt x="470081" y="136963"/>
                </a:lnTo>
                <a:lnTo>
                  <a:pt x="494396" y="141260"/>
                </a:lnTo>
                <a:lnTo>
                  <a:pt x="518700" y="136963"/>
                </a:lnTo>
                <a:lnTo>
                  <a:pt x="539356" y="125094"/>
                </a:lnTo>
                <a:lnTo>
                  <a:pt x="554833" y="107181"/>
                </a:lnTo>
                <a:lnTo>
                  <a:pt x="563598" y="84756"/>
                </a:lnTo>
                <a:lnTo>
                  <a:pt x="607392" y="84756"/>
                </a:lnTo>
                <a:lnTo>
                  <a:pt x="615190" y="84756"/>
                </a:lnTo>
                <a:lnTo>
                  <a:pt x="621520" y="78425"/>
                </a:lnTo>
                <a:lnTo>
                  <a:pt x="621520" y="70629"/>
                </a:lnTo>
                <a:lnTo>
                  <a:pt x="621520" y="62834"/>
                </a:lnTo>
                <a:lnTo>
                  <a:pt x="615190" y="56504"/>
                </a:lnTo>
                <a:lnTo>
                  <a:pt x="607392" y="56504"/>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56" name="object 56"/>
          <p:cNvSpPr/>
          <p:nvPr/>
        </p:nvSpPr>
        <p:spPr>
          <a:xfrm>
            <a:off x="11004214" y="1539526"/>
            <a:ext cx="51599" cy="51599"/>
          </a:xfrm>
          <a:custGeom>
            <a:avLst/>
            <a:gdLst/>
            <a:ahLst/>
            <a:cxnLst/>
            <a:rect l="l" t="t" r="r" b="b"/>
            <a:pathLst>
              <a:path w="85090" h="85089">
                <a:moveTo>
                  <a:pt x="42384" y="0"/>
                </a:moveTo>
                <a:lnTo>
                  <a:pt x="58888" y="3332"/>
                </a:lnTo>
                <a:lnTo>
                  <a:pt x="72360" y="12419"/>
                </a:lnTo>
                <a:lnTo>
                  <a:pt x="81440" y="25890"/>
                </a:lnTo>
                <a:lnTo>
                  <a:pt x="84768" y="42377"/>
                </a:lnTo>
                <a:lnTo>
                  <a:pt x="81440" y="58876"/>
                </a:lnTo>
                <a:lnTo>
                  <a:pt x="72360" y="72346"/>
                </a:lnTo>
                <a:lnTo>
                  <a:pt x="58888" y="81426"/>
                </a:lnTo>
                <a:lnTo>
                  <a:pt x="42384" y="84756"/>
                </a:lnTo>
                <a:lnTo>
                  <a:pt x="25880" y="81426"/>
                </a:lnTo>
                <a:lnTo>
                  <a:pt x="12408" y="72346"/>
                </a:lnTo>
                <a:lnTo>
                  <a:pt x="3328" y="58876"/>
                </a:lnTo>
                <a:lnTo>
                  <a:pt x="0" y="42377"/>
                </a:lnTo>
                <a:lnTo>
                  <a:pt x="3328" y="25890"/>
                </a:lnTo>
                <a:lnTo>
                  <a:pt x="12408" y="12419"/>
                </a:lnTo>
                <a:lnTo>
                  <a:pt x="25880" y="3332"/>
                </a:lnTo>
                <a:lnTo>
                  <a:pt x="42384" y="0"/>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57" name="object 57"/>
          <p:cNvSpPr/>
          <p:nvPr/>
        </p:nvSpPr>
        <p:spPr>
          <a:xfrm>
            <a:off x="10935694" y="1522395"/>
            <a:ext cx="376978" cy="85869"/>
          </a:xfrm>
          <a:custGeom>
            <a:avLst/>
            <a:gdLst/>
            <a:ahLst/>
            <a:cxnLst/>
            <a:rect l="l" t="t" r="r" b="b"/>
            <a:pathLst>
              <a:path w="621665" h="141605">
                <a:moveTo>
                  <a:pt x="14128" y="84755"/>
                </a:moveTo>
                <a:lnTo>
                  <a:pt x="86178" y="84755"/>
                </a:lnTo>
                <a:lnTo>
                  <a:pt x="94943" y="107181"/>
                </a:lnTo>
                <a:lnTo>
                  <a:pt x="110420" y="125093"/>
                </a:lnTo>
                <a:lnTo>
                  <a:pt x="131077" y="136963"/>
                </a:lnTo>
                <a:lnTo>
                  <a:pt x="155380" y="141259"/>
                </a:lnTo>
                <a:lnTo>
                  <a:pt x="179683" y="136963"/>
                </a:lnTo>
                <a:lnTo>
                  <a:pt x="200339" y="125093"/>
                </a:lnTo>
                <a:lnTo>
                  <a:pt x="215816" y="107181"/>
                </a:lnTo>
                <a:lnTo>
                  <a:pt x="224581" y="84755"/>
                </a:lnTo>
                <a:lnTo>
                  <a:pt x="607392" y="84755"/>
                </a:lnTo>
                <a:lnTo>
                  <a:pt x="615190" y="84755"/>
                </a:lnTo>
                <a:lnTo>
                  <a:pt x="621520" y="78451"/>
                </a:lnTo>
                <a:lnTo>
                  <a:pt x="621520" y="70629"/>
                </a:lnTo>
                <a:lnTo>
                  <a:pt x="621520" y="62834"/>
                </a:lnTo>
                <a:lnTo>
                  <a:pt x="615190" y="56503"/>
                </a:lnTo>
                <a:lnTo>
                  <a:pt x="607392" y="56503"/>
                </a:lnTo>
                <a:lnTo>
                  <a:pt x="224581" y="56503"/>
                </a:lnTo>
                <a:lnTo>
                  <a:pt x="215816" y="34078"/>
                </a:lnTo>
                <a:lnTo>
                  <a:pt x="200339" y="16166"/>
                </a:lnTo>
                <a:lnTo>
                  <a:pt x="179683" y="4296"/>
                </a:lnTo>
                <a:lnTo>
                  <a:pt x="155380" y="0"/>
                </a:lnTo>
                <a:lnTo>
                  <a:pt x="131077" y="4296"/>
                </a:lnTo>
                <a:lnTo>
                  <a:pt x="110420" y="16166"/>
                </a:lnTo>
                <a:lnTo>
                  <a:pt x="94943" y="34078"/>
                </a:lnTo>
                <a:lnTo>
                  <a:pt x="86178" y="56503"/>
                </a:lnTo>
                <a:lnTo>
                  <a:pt x="14128" y="56503"/>
                </a:lnTo>
                <a:lnTo>
                  <a:pt x="6330" y="56503"/>
                </a:lnTo>
                <a:lnTo>
                  <a:pt x="0" y="62834"/>
                </a:lnTo>
                <a:lnTo>
                  <a:pt x="0" y="70629"/>
                </a:lnTo>
                <a:lnTo>
                  <a:pt x="0" y="78451"/>
                </a:lnTo>
                <a:lnTo>
                  <a:pt x="6330" y="84755"/>
                </a:lnTo>
                <a:lnTo>
                  <a:pt x="14128" y="84755"/>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58" name="object 58"/>
          <p:cNvSpPr/>
          <p:nvPr/>
        </p:nvSpPr>
        <p:spPr>
          <a:xfrm>
            <a:off x="11072752" y="1796490"/>
            <a:ext cx="51599" cy="51599"/>
          </a:xfrm>
          <a:custGeom>
            <a:avLst/>
            <a:gdLst/>
            <a:ahLst/>
            <a:cxnLst/>
            <a:rect l="l" t="t" r="r" b="b"/>
            <a:pathLst>
              <a:path w="85090" h="85089">
                <a:moveTo>
                  <a:pt x="42355" y="84756"/>
                </a:moveTo>
                <a:lnTo>
                  <a:pt x="25868" y="81427"/>
                </a:lnTo>
                <a:lnTo>
                  <a:pt x="12405" y="72347"/>
                </a:lnTo>
                <a:lnTo>
                  <a:pt x="3328" y="58877"/>
                </a:lnTo>
                <a:lnTo>
                  <a:pt x="0" y="42378"/>
                </a:lnTo>
                <a:lnTo>
                  <a:pt x="3328" y="25890"/>
                </a:lnTo>
                <a:lnTo>
                  <a:pt x="12405" y="12419"/>
                </a:lnTo>
                <a:lnTo>
                  <a:pt x="25868" y="3332"/>
                </a:lnTo>
                <a:lnTo>
                  <a:pt x="42355" y="0"/>
                </a:lnTo>
                <a:lnTo>
                  <a:pt x="58859" y="3332"/>
                </a:lnTo>
                <a:lnTo>
                  <a:pt x="72331" y="12419"/>
                </a:lnTo>
                <a:lnTo>
                  <a:pt x="81411" y="25890"/>
                </a:lnTo>
                <a:lnTo>
                  <a:pt x="84740" y="42378"/>
                </a:lnTo>
                <a:lnTo>
                  <a:pt x="81411" y="58877"/>
                </a:lnTo>
                <a:lnTo>
                  <a:pt x="72331" y="72347"/>
                </a:lnTo>
                <a:lnTo>
                  <a:pt x="58859" y="81427"/>
                </a:lnTo>
                <a:lnTo>
                  <a:pt x="42355" y="84756"/>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59" name="object 59"/>
          <p:cNvSpPr/>
          <p:nvPr/>
        </p:nvSpPr>
        <p:spPr>
          <a:xfrm>
            <a:off x="10935694" y="1779359"/>
            <a:ext cx="376978" cy="85869"/>
          </a:xfrm>
          <a:custGeom>
            <a:avLst/>
            <a:gdLst/>
            <a:ahLst/>
            <a:cxnLst/>
            <a:rect l="l" t="t" r="r" b="b"/>
            <a:pathLst>
              <a:path w="621665" h="141605">
                <a:moveTo>
                  <a:pt x="607392" y="56504"/>
                </a:moveTo>
                <a:lnTo>
                  <a:pt x="337577" y="56504"/>
                </a:lnTo>
                <a:lnTo>
                  <a:pt x="328816" y="34079"/>
                </a:lnTo>
                <a:lnTo>
                  <a:pt x="313346" y="16166"/>
                </a:lnTo>
                <a:lnTo>
                  <a:pt x="292691" y="4296"/>
                </a:lnTo>
                <a:lnTo>
                  <a:pt x="268376" y="0"/>
                </a:lnTo>
                <a:lnTo>
                  <a:pt x="244077" y="4296"/>
                </a:lnTo>
                <a:lnTo>
                  <a:pt x="223427" y="16166"/>
                </a:lnTo>
                <a:lnTo>
                  <a:pt x="207951" y="34079"/>
                </a:lnTo>
                <a:lnTo>
                  <a:pt x="199174" y="56504"/>
                </a:lnTo>
                <a:lnTo>
                  <a:pt x="14128" y="56504"/>
                </a:lnTo>
                <a:lnTo>
                  <a:pt x="6330" y="56504"/>
                </a:lnTo>
                <a:lnTo>
                  <a:pt x="0" y="62834"/>
                </a:lnTo>
                <a:lnTo>
                  <a:pt x="0" y="70629"/>
                </a:lnTo>
                <a:lnTo>
                  <a:pt x="0" y="78451"/>
                </a:lnTo>
                <a:lnTo>
                  <a:pt x="6330" y="84755"/>
                </a:lnTo>
                <a:lnTo>
                  <a:pt x="14128" y="84755"/>
                </a:lnTo>
                <a:lnTo>
                  <a:pt x="199174" y="84755"/>
                </a:lnTo>
                <a:lnTo>
                  <a:pt x="207951" y="107195"/>
                </a:lnTo>
                <a:lnTo>
                  <a:pt x="223427" y="125116"/>
                </a:lnTo>
                <a:lnTo>
                  <a:pt x="244077" y="136989"/>
                </a:lnTo>
                <a:lnTo>
                  <a:pt x="268376" y="141286"/>
                </a:lnTo>
                <a:lnTo>
                  <a:pt x="292691" y="136989"/>
                </a:lnTo>
                <a:lnTo>
                  <a:pt x="313346" y="125116"/>
                </a:lnTo>
                <a:lnTo>
                  <a:pt x="328816" y="107195"/>
                </a:lnTo>
                <a:lnTo>
                  <a:pt x="337577" y="84755"/>
                </a:lnTo>
                <a:lnTo>
                  <a:pt x="607392" y="84755"/>
                </a:lnTo>
                <a:lnTo>
                  <a:pt x="615190" y="84755"/>
                </a:lnTo>
                <a:lnTo>
                  <a:pt x="621520" y="78451"/>
                </a:lnTo>
                <a:lnTo>
                  <a:pt x="621520" y="70629"/>
                </a:lnTo>
                <a:lnTo>
                  <a:pt x="621520" y="62834"/>
                </a:lnTo>
                <a:lnTo>
                  <a:pt x="615190" y="56504"/>
                </a:lnTo>
                <a:lnTo>
                  <a:pt x="607392" y="56504"/>
                </a:lnTo>
              </a:path>
            </a:pathLst>
          </a:custGeom>
          <a:ln w="15706">
            <a:solidFill>
              <a:srgbClr val="FFFFFF"/>
            </a:solidFill>
          </a:ln>
        </p:spPr>
        <p:txBody>
          <a:bodyPr wrap="square" lIns="0" tIns="0" rIns="0" bIns="0" rtlCol="0"/>
          <a:lstStyle/>
          <a:p>
            <a:pPr defTabSz="554492"/>
            <a:endParaRPr sz="1092">
              <a:solidFill>
                <a:prstClr val="black"/>
              </a:solidFill>
            </a:endParaRPr>
          </a:p>
        </p:txBody>
      </p:sp>
      <p:sp>
        <p:nvSpPr>
          <p:cNvPr id="60" name="object 60"/>
          <p:cNvSpPr/>
          <p:nvPr/>
        </p:nvSpPr>
        <p:spPr>
          <a:xfrm>
            <a:off x="11042748" y="2874920"/>
            <a:ext cx="228728" cy="228728"/>
          </a:xfrm>
          <a:custGeom>
            <a:avLst/>
            <a:gdLst/>
            <a:ahLst/>
            <a:cxnLst/>
            <a:rect l="l" t="t" r="r" b="b"/>
            <a:pathLst>
              <a:path w="377190" h="377189">
                <a:moveTo>
                  <a:pt x="188475" y="0"/>
                </a:moveTo>
                <a:lnTo>
                  <a:pt x="138375" y="6732"/>
                </a:lnTo>
                <a:lnTo>
                  <a:pt x="93353" y="25732"/>
                </a:lnTo>
                <a:lnTo>
                  <a:pt x="55207" y="55203"/>
                </a:lnTo>
                <a:lnTo>
                  <a:pt x="25735" y="93349"/>
                </a:lnTo>
                <a:lnTo>
                  <a:pt x="6733" y="138372"/>
                </a:lnTo>
                <a:lnTo>
                  <a:pt x="0" y="188475"/>
                </a:lnTo>
                <a:lnTo>
                  <a:pt x="6733" y="238579"/>
                </a:lnTo>
                <a:lnTo>
                  <a:pt x="25735" y="283602"/>
                </a:lnTo>
                <a:lnTo>
                  <a:pt x="55207" y="321748"/>
                </a:lnTo>
                <a:lnTo>
                  <a:pt x="93353" y="351219"/>
                </a:lnTo>
                <a:lnTo>
                  <a:pt x="138375" y="370219"/>
                </a:lnTo>
                <a:lnTo>
                  <a:pt x="188475" y="376951"/>
                </a:lnTo>
                <a:lnTo>
                  <a:pt x="238576" y="370219"/>
                </a:lnTo>
                <a:lnTo>
                  <a:pt x="283598" y="351219"/>
                </a:lnTo>
                <a:lnTo>
                  <a:pt x="321744" y="321748"/>
                </a:lnTo>
                <a:lnTo>
                  <a:pt x="351216" y="283602"/>
                </a:lnTo>
                <a:lnTo>
                  <a:pt x="370218" y="238579"/>
                </a:lnTo>
                <a:lnTo>
                  <a:pt x="376951" y="188475"/>
                </a:lnTo>
                <a:lnTo>
                  <a:pt x="370218" y="138372"/>
                </a:lnTo>
                <a:lnTo>
                  <a:pt x="351216" y="93349"/>
                </a:lnTo>
                <a:lnTo>
                  <a:pt x="321744" y="55203"/>
                </a:lnTo>
                <a:lnTo>
                  <a:pt x="283598" y="25732"/>
                </a:lnTo>
                <a:lnTo>
                  <a:pt x="238576" y="6732"/>
                </a:lnTo>
                <a:lnTo>
                  <a:pt x="188475" y="0"/>
                </a:lnTo>
                <a:close/>
              </a:path>
            </a:pathLst>
          </a:custGeom>
          <a:solidFill>
            <a:srgbClr val="00636C"/>
          </a:solidFill>
        </p:spPr>
        <p:txBody>
          <a:bodyPr wrap="square" lIns="0" tIns="0" rIns="0" bIns="0" rtlCol="0"/>
          <a:lstStyle/>
          <a:p>
            <a:pPr defTabSz="554492"/>
            <a:endParaRPr sz="1092">
              <a:solidFill>
                <a:prstClr val="black"/>
              </a:solidFill>
            </a:endParaRPr>
          </a:p>
        </p:txBody>
      </p:sp>
      <p:sp>
        <p:nvSpPr>
          <p:cNvPr id="61" name="object 61"/>
          <p:cNvSpPr/>
          <p:nvPr/>
        </p:nvSpPr>
        <p:spPr>
          <a:xfrm>
            <a:off x="11042748" y="2874920"/>
            <a:ext cx="228728" cy="228728"/>
          </a:xfrm>
          <a:custGeom>
            <a:avLst/>
            <a:gdLst/>
            <a:ahLst/>
            <a:cxnLst/>
            <a:rect l="l" t="t" r="r" b="b"/>
            <a:pathLst>
              <a:path w="377190" h="377189">
                <a:moveTo>
                  <a:pt x="0" y="188476"/>
                </a:moveTo>
                <a:lnTo>
                  <a:pt x="6732" y="138371"/>
                </a:lnTo>
                <a:lnTo>
                  <a:pt x="25732" y="93348"/>
                </a:lnTo>
                <a:lnTo>
                  <a:pt x="55203" y="55203"/>
                </a:lnTo>
                <a:lnTo>
                  <a:pt x="93348" y="25732"/>
                </a:lnTo>
                <a:lnTo>
                  <a:pt x="138371" y="6732"/>
                </a:lnTo>
                <a:lnTo>
                  <a:pt x="188476" y="0"/>
                </a:lnTo>
                <a:lnTo>
                  <a:pt x="238580" y="6732"/>
                </a:lnTo>
                <a:lnTo>
                  <a:pt x="283603" y="25732"/>
                </a:lnTo>
                <a:lnTo>
                  <a:pt x="321748" y="55203"/>
                </a:lnTo>
                <a:lnTo>
                  <a:pt x="351219" y="93348"/>
                </a:lnTo>
                <a:lnTo>
                  <a:pt x="370219" y="138371"/>
                </a:lnTo>
                <a:lnTo>
                  <a:pt x="376952" y="188476"/>
                </a:lnTo>
                <a:lnTo>
                  <a:pt x="370219" y="238580"/>
                </a:lnTo>
                <a:lnTo>
                  <a:pt x="351219" y="283603"/>
                </a:lnTo>
                <a:lnTo>
                  <a:pt x="321748" y="321749"/>
                </a:lnTo>
                <a:lnTo>
                  <a:pt x="283603" y="351220"/>
                </a:lnTo>
                <a:lnTo>
                  <a:pt x="238580" y="370220"/>
                </a:lnTo>
                <a:lnTo>
                  <a:pt x="188476" y="376952"/>
                </a:lnTo>
                <a:lnTo>
                  <a:pt x="138371" y="370220"/>
                </a:lnTo>
                <a:lnTo>
                  <a:pt x="93348" y="351220"/>
                </a:lnTo>
                <a:lnTo>
                  <a:pt x="55203" y="321749"/>
                </a:lnTo>
                <a:lnTo>
                  <a:pt x="25732" y="283603"/>
                </a:lnTo>
                <a:lnTo>
                  <a:pt x="6732" y="238580"/>
                </a:lnTo>
                <a:lnTo>
                  <a:pt x="0" y="188476"/>
                </a:lnTo>
                <a:close/>
              </a:path>
            </a:pathLst>
          </a:custGeom>
          <a:ln w="73296">
            <a:solidFill>
              <a:srgbClr val="FFFFFF"/>
            </a:solidFill>
          </a:ln>
        </p:spPr>
        <p:txBody>
          <a:bodyPr wrap="square" lIns="0" tIns="0" rIns="0" bIns="0" rtlCol="0"/>
          <a:lstStyle/>
          <a:p>
            <a:pPr defTabSz="554492"/>
            <a:endParaRPr sz="1092">
              <a:solidFill>
                <a:prstClr val="black"/>
              </a:solidFill>
            </a:endParaRPr>
          </a:p>
        </p:txBody>
      </p:sp>
    </p:spTree>
    <p:extLst>
      <p:ext uri="{BB962C8B-B14F-4D97-AF65-F5344CB8AC3E}">
        <p14:creationId xmlns:p14="http://schemas.microsoft.com/office/powerpoint/2010/main" val="1396155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38198" y="1932057"/>
            <a:ext cx="3240000" cy="4307123"/>
          </a:xfrm>
          <a:prstGeom prst="rect">
            <a:avLst/>
          </a:prstGeom>
          <a:ln w="9144">
            <a:solidFill>
              <a:srgbClr val="D9D9D9"/>
            </a:solidFill>
          </a:ln>
        </p:spPr>
        <p:txBody>
          <a:bodyPr vert="horz" wrap="square" lIns="0" tIns="36368" rIns="0" bIns="0" rtlCol="0">
            <a:spAutoFit/>
          </a:bodyPr>
          <a:lstStyle/>
          <a:p>
            <a:pPr marL="81969">
              <a:spcBef>
                <a:spcPts val="287"/>
              </a:spcBef>
            </a:pPr>
            <a:r>
              <a:rPr sz="1600" b="1" dirty="0">
                <a:solidFill>
                  <a:schemeClr val="tx1">
                    <a:lumMod val="50000"/>
                    <a:lumOff val="50000"/>
                  </a:schemeClr>
                </a:solidFill>
                <a:cs typeface="Arial"/>
              </a:rPr>
              <a:t>Example: </a:t>
            </a:r>
            <a:r>
              <a:rPr sz="1600" dirty="0">
                <a:solidFill>
                  <a:schemeClr val="tx1">
                    <a:lumMod val="50000"/>
                    <a:lumOff val="50000"/>
                  </a:schemeClr>
                </a:solidFill>
                <a:cs typeface="Arial"/>
              </a:rPr>
              <a:t>Bitcoin,</a:t>
            </a:r>
            <a:r>
              <a:rPr sz="1600" spc="-91" dirty="0">
                <a:solidFill>
                  <a:schemeClr val="tx1">
                    <a:lumMod val="50000"/>
                    <a:lumOff val="50000"/>
                  </a:schemeClr>
                </a:solidFill>
                <a:cs typeface="Arial"/>
              </a:rPr>
              <a:t> </a:t>
            </a:r>
            <a:r>
              <a:rPr sz="1600" spc="-4" dirty="0">
                <a:solidFill>
                  <a:schemeClr val="tx1">
                    <a:lumMod val="50000"/>
                    <a:lumOff val="50000"/>
                  </a:schemeClr>
                </a:solidFill>
                <a:cs typeface="Arial"/>
              </a:rPr>
              <a:t>Ethereum</a:t>
            </a:r>
            <a:endParaRPr sz="1600" dirty="0">
              <a:solidFill>
                <a:schemeClr val="tx1">
                  <a:lumMod val="50000"/>
                  <a:lumOff val="50000"/>
                </a:schemeClr>
              </a:solidFill>
              <a:cs typeface="Arial"/>
            </a:endParaRPr>
          </a:p>
          <a:p>
            <a:pPr marL="81969" marR="237825">
              <a:spcBef>
                <a:spcPts val="877"/>
              </a:spcBef>
            </a:pPr>
            <a:r>
              <a:rPr sz="1600" dirty="0">
                <a:solidFill>
                  <a:schemeClr val="tx1">
                    <a:lumMod val="50000"/>
                    <a:lumOff val="50000"/>
                  </a:schemeClr>
                </a:solidFill>
                <a:cs typeface="Arial"/>
              </a:rPr>
              <a:t>Public blockchain </a:t>
            </a:r>
            <a:r>
              <a:rPr sz="1600" spc="-9" dirty="0">
                <a:solidFill>
                  <a:schemeClr val="tx1">
                    <a:lumMod val="50000"/>
                    <a:lumOff val="50000"/>
                  </a:schemeClr>
                </a:solidFill>
                <a:cs typeface="Arial"/>
              </a:rPr>
              <a:t>allows  everyone </a:t>
            </a:r>
            <a:r>
              <a:rPr sz="1600" dirty="0">
                <a:solidFill>
                  <a:schemeClr val="tx1">
                    <a:lumMod val="50000"/>
                    <a:lumOff val="50000"/>
                  </a:schemeClr>
                </a:solidFill>
                <a:cs typeface="Arial"/>
              </a:rPr>
              <a:t>to access </a:t>
            </a:r>
            <a:r>
              <a:rPr sz="1600" spc="-4" dirty="0">
                <a:solidFill>
                  <a:schemeClr val="tx1">
                    <a:lumMod val="50000"/>
                    <a:lumOff val="50000"/>
                  </a:schemeClr>
                </a:solidFill>
                <a:cs typeface="Arial"/>
              </a:rPr>
              <a:t>and  contribute </a:t>
            </a:r>
            <a:r>
              <a:rPr sz="1600" dirty="0">
                <a:solidFill>
                  <a:schemeClr val="tx1">
                    <a:lumMod val="50000"/>
                    <a:lumOff val="50000"/>
                  </a:schemeClr>
                </a:solidFill>
                <a:cs typeface="Arial"/>
              </a:rPr>
              <a:t>to its </a:t>
            </a:r>
            <a:r>
              <a:rPr sz="1600" spc="-4" dirty="0">
                <a:solidFill>
                  <a:schemeClr val="tx1">
                    <a:lumMod val="50000"/>
                    <a:lumOff val="50000"/>
                  </a:schemeClr>
                </a:solidFill>
                <a:cs typeface="Arial"/>
              </a:rPr>
              <a:t>database.  </a:t>
            </a:r>
            <a:r>
              <a:rPr sz="1600" dirty="0">
                <a:solidFill>
                  <a:schemeClr val="tx1">
                    <a:lumMod val="50000"/>
                    <a:lumOff val="50000"/>
                  </a:schemeClr>
                </a:solidFill>
                <a:cs typeface="Arial"/>
              </a:rPr>
              <a:t>Since </a:t>
            </a:r>
            <a:r>
              <a:rPr sz="1600" spc="-4" dirty="0">
                <a:solidFill>
                  <a:schemeClr val="tx1">
                    <a:lumMod val="50000"/>
                    <a:lumOff val="50000"/>
                  </a:schemeClr>
                </a:solidFill>
                <a:cs typeface="Arial"/>
              </a:rPr>
              <a:t>there </a:t>
            </a:r>
            <a:r>
              <a:rPr sz="1600" dirty="0">
                <a:solidFill>
                  <a:schemeClr val="tx1">
                    <a:lumMod val="50000"/>
                    <a:lumOff val="50000"/>
                  </a:schemeClr>
                </a:solidFill>
                <a:cs typeface="Arial"/>
              </a:rPr>
              <a:t>is </a:t>
            </a:r>
            <a:r>
              <a:rPr sz="1600" spc="-4" dirty="0">
                <a:solidFill>
                  <a:schemeClr val="tx1">
                    <a:lumMod val="50000"/>
                    <a:lumOff val="50000"/>
                  </a:schemeClr>
                </a:solidFill>
                <a:cs typeface="Arial"/>
              </a:rPr>
              <a:t>no central  </a:t>
            </a:r>
            <a:r>
              <a:rPr sz="1600" spc="-9" dirty="0">
                <a:solidFill>
                  <a:schemeClr val="tx1">
                    <a:lumMod val="50000"/>
                    <a:lumOff val="50000"/>
                  </a:schemeClr>
                </a:solidFill>
                <a:cs typeface="Arial"/>
              </a:rPr>
              <a:t>owner/operator </a:t>
            </a:r>
            <a:r>
              <a:rPr sz="1600" spc="-4" dirty="0">
                <a:solidFill>
                  <a:schemeClr val="tx1">
                    <a:lumMod val="50000"/>
                    <a:lumOff val="50000"/>
                  </a:schemeClr>
                </a:solidFill>
                <a:cs typeface="Arial"/>
              </a:rPr>
              <a:t>of </a:t>
            </a:r>
            <a:r>
              <a:rPr sz="1600" dirty="0">
                <a:solidFill>
                  <a:schemeClr val="tx1">
                    <a:lumMod val="50000"/>
                    <a:lumOff val="50000"/>
                  </a:schemeClr>
                </a:solidFill>
                <a:cs typeface="Arial"/>
              </a:rPr>
              <a:t>the </a:t>
            </a:r>
            <a:r>
              <a:rPr sz="1600" spc="-19" dirty="0">
                <a:solidFill>
                  <a:schemeClr val="tx1">
                    <a:lumMod val="50000"/>
                    <a:lumOff val="50000"/>
                  </a:schemeClr>
                </a:solidFill>
                <a:cs typeface="Arial"/>
              </a:rPr>
              <a:t>ledger,  </a:t>
            </a:r>
            <a:r>
              <a:rPr sz="1600" spc="-4" dirty="0">
                <a:solidFill>
                  <a:schemeClr val="tx1">
                    <a:lumMod val="50000"/>
                    <a:lumOff val="50000"/>
                  </a:schemeClr>
                </a:solidFill>
                <a:cs typeface="Arial"/>
              </a:rPr>
              <a:t>everybody </a:t>
            </a:r>
            <a:r>
              <a:rPr sz="1600" dirty="0">
                <a:solidFill>
                  <a:schemeClr val="tx1">
                    <a:lumMod val="50000"/>
                    <a:lumOff val="50000"/>
                  </a:schemeClr>
                </a:solidFill>
                <a:cs typeface="Arial"/>
              </a:rPr>
              <a:t>on the chain is  </a:t>
            </a:r>
            <a:r>
              <a:rPr sz="1600" spc="-4" dirty="0">
                <a:solidFill>
                  <a:schemeClr val="tx1">
                    <a:lumMod val="50000"/>
                    <a:lumOff val="50000"/>
                  </a:schemeClr>
                </a:solidFill>
                <a:cs typeface="Arial"/>
              </a:rPr>
              <a:t>responsible for </a:t>
            </a:r>
            <a:r>
              <a:rPr sz="1600" dirty="0">
                <a:solidFill>
                  <a:schemeClr val="tx1">
                    <a:lumMod val="50000"/>
                    <a:lumOff val="50000"/>
                  </a:schemeClr>
                </a:solidFill>
                <a:cs typeface="Arial"/>
              </a:rPr>
              <a:t>the </a:t>
            </a:r>
            <a:r>
              <a:rPr sz="1600" spc="-4" dirty="0">
                <a:solidFill>
                  <a:schemeClr val="tx1">
                    <a:lumMod val="50000"/>
                    <a:lumOff val="50000"/>
                  </a:schemeClr>
                </a:solidFill>
                <a:cs typeface="Arial"/>
              </a:rPr>
              <a:t>integrity of  </a:t>
            </a:r>
            <a:r>
              <a:rPr sz="1600" dirty="0">
                <a:solidFill>
                  <a:schemeClr val="tx1">
                    <a:lumMod val="50000"/>
                    <a:lumOff val="50000"/>
                  </a:schemeClr>
                </a:solidFill>
                <a:cs typeface="Arial"/>
              </a:rPr>
              <a:t>the</a:t>
            </a:r>
            <a:r>
              <a:rPr sz="1600" spc="-23" dirty="0">
                <a:solidFill>
                  <a:schemeClr val="tx1">
                    <a:lumMod val="50000"/>
                    <a:lumOff val="50000"/>
                  </a:schemeClr>
                </a:solidFill>
                <a:cs typeface="Arial"/>
              </a:rPr>
              <a:t> </a:t>
            </a:r>
            <a:r>
              <a:rPr sz="1600" spc="-4" dirty="0">
                <a:solidFill>
                  <a:schemeClr val="tx1">
                    <a:lumMod val="50000"/>
                    <a:lumOff val="50000"/>
                  </a:schemeClr>
                </a:solidFill>
                <a:cs typeface="Arial"/>
              </a:rPr>
              <a:t>database.</a:t>
            </a:r>
            <a:endParaRPr sz="1600" dirty="0">
              <a:solidFill>
                <a:schemeClr val="tx1">
                  <a:lumMod val="50000"/>
                  <a:lumOff val="50000"/>
                </a:schemeClr>
              </a:solidFill>
              <a:cs typeface="Arial"/>
            </a:endParaRPr>
          </a:p>
          <a:p>
            <a:pPr marL="81969" marR="268417">
              <a:spcBef>
                <a:spcPts val="877"/>
              </a:spcBef>
            </a:pPr>
            <a:r>
              <a:rPr sz="1600" b="1" spc="-9" dirty="0">
                <a:solidFill>
                  <a:schemeClr val="tx1">
                    <a:lumMod val="50000"/>
                    <a:lumOff val="50000"/>
                  </a:schemeClr>
                </a:solidFill>
                <a:cs typeface="Arial"/>
              </a:rPr>
              <a:t>Advantage: </a:t>
            </a:r>
            <a:r>
              <a:rPr sz="1600" dirty="0">
                <a:solidFill>
                  <a:schemeClr val="tx1">
                    <a:lumMod val="50000"/>
                    <a:lumOff val="50000"/>
                  </a:schemeClr>
                </a:solidFill>
                <a:cs typeface="Arial"/>
              </a:rPr>
              <a:t>Immutable, high  </a:t>
            </a:r>
            <a:r>
              <a:rPr sz="1600" spc="-19" dirty="0">
                <a:solidFill>
                  <a:schemeClr val="tx1">
                    <a:lumMod val="50000"/>
                    <a:lumOff val="50000"/>
                  </a:schemeClr>
                </a:solidFill>
                <a:cs typeface="Arial"/>
              </a:rPr>
              <a:t>security, </a:t>
            </a:r>
            <a:r>
              <a:rPr sz="1600" spc="-4" dirty="0">
                <a:solidFill>
                  <a:schemeClr val="tx1">
                    <a:lumMod val="50000"/>
                    <a:lumOff val="50000"/>
                  </a:schemeClr>
                </a:solidFill>
                <a:cs typeface="Arial"/>
              </a:rPr>
              <a:t>individual</a:t>
            </a:r>
            <a:r>
              <a:rPr sz="1600" spc="-9" dirty="0">
                <a:solidFill>
                  <a:schemeClr val="tx1">
                    <a:lumMod val="50000"/>
                    <a:lumOff val="50000"/>
                  </a:schemeClr>
                </a:solidFill>
                <a:cs typeface="Arial"/>
              </a:rPr>
              <a:t> </a:t>
            </a:r>
            <a:r>
              <a:rPr sz="1600" dirty="0">
                <a:solidFill>
                  <a:schemeClr val="tx1">
                    <a:lumMod val="50000"/>
                    <a:lumOff val="50000"/>
                  </a:schemeClr>
                </a:solidFill>
                <a:cs typeface="Arial"/>
              </a:rPr>
              <a:t>anonymity</a:t>
            </a:r>
            <a:endParaRPr lang="en-US" sz="1600" dirty="0">
              <a:solidFill>
                <a:schemeClr val="tx1">
                  <a:lumMod val="50000"/>
                  <a:lumOff val="50000"/>
                </a:schemeClr>
              </a:solidFill>
              <a:cs typeface="Arial"/>
            </a:endParaRPr>
          </a:p>
          <a:p>
            <a:pPr marL="81969" marR="268417">
              <a:spcBef>
                <a:spcPts val="877"/>
              </a:spcBef>
            </a:pPr>
            <a:endParaRPr sz="1600" dirty="0">
              <a:solidFill>
                <a:schemeClr val="tx1">
                  <a:lumMod val="50000"/>
                  <a:lumOff val="50000"/>
                </a:schemeClr>
              </a:solidFill>
              <a:cs typeface="Arial"/>
            </a:endParaRPr>
          </a:p>
          <a:p>
            <a:pPr marL="81969" marR="123530">
              <a:spcBef>
                <a:spcPts val="873"/>
              </a:spcBef>
            </a:pPr>
            <a:r>
              <a:rPr sz="1600" b="1" spc="-4" dirty="0">
                <a:solidFill>
                  <a:schemeClr val="tx1">
                    <a:lumMod val="50000"/>
                    <a:lumOff val="50000"/>
                  </a:schemeClr>
                </a:solidFill>
                <a:cs typeface="Arial"/>
              </a:rPr>
              <a:t>Disadvantage: </a:t>
            </a:r>
            <a:r>
              <a:rPr sz="1600" spc="-4" dirty="0">
                <a:solidFill>
                  <a:schemeClr val="tx1">
                    <a:lumMod val="50000"/>
                    <a:lumOff val="50000"/>
                  </a:schemeClr>
                </a:solidFill>
                <a:cs typeface="Arial"/>
              </a:rPr>
              <a:t>Relatively </a:t>
            </a:r>
            <a:r>
              <a:rPr sz="1600" dirty="0">
                <a:solidFill>
                  <a:schemeClr val="tx1">
                    <a:lumMod val="50000"/>
                    <a:lumOff val="50000"/>
                  </a:schemeClr>
                </a:solidFill>
                <a:cs typeface="Arial"/>
              </a:rPr>
              <a:t>slow  </a:t>
            </a:r>
            <a:r>
              <a:rPr sz="1600" spc="-4" dirty="0">
                <a:solidFill>
                  <a:schemeClr val="tx1">
                    <a:lumMod val="50000"/>
                    <a:lumOff val="50000"/>
                  </a:schemeClr>
                </a:solidFill>
                <a:cs typeface="Arial"/>
              </a:rPr>
              <a:t>transaction speed, scalability  constraint</a:t>
            </a:r>
            <a:endParaRPr sz="1600" dirty="0">
              <a:solidFill>
                <a:schemeClr val="tx1">
                  <a:lumMod val="50000"/>
                  <a:lumOff val="50000"/>
                </a:schemeClr>
              </a:solidFill>
              <a:cs typeface="Arial"/>
            </a:endParaRPr>
          </a:p>
          <a:p>
            <a:pPr marL="81969">
              <a:spcBef>
                <a:spcPts val="877"/>
              </a:spcBef>
            </a:pPr>
            <a:r>
              <a:rPr sz="1600" b="1" spc="-4" dirty="0">
                <a:solidFill>
                  <a:schemeClr val="tx1">
                    <a:lumMod val="50000"/>
                    <a:lumOff val="50000"/>
                  </a:schemeClr>
                </a:solidFill>
                <a:cs typeface="Arial"/>
              </a:rPr>
              <a:t>Use case: </a:t>
            </a:r>
            <a:r>
              <a:rPr sz="1600" dirty="0">
                <a:solidFill>
                  <a:schemeClr val="tx1">
                    <a:lumMod val="50000"/>
                    <a:lumOff val="50000"/>
                  </a:schemeClr>
                </a:solidFill>
                <a:cs typeface="Arial"/>
              </a:rPr>
              <a:t>Cryptocurrency</a:t>
            </a:r>
            <a:endParaRPr lang="en-US" sz="1600" dirty="0">
              <a:solidFill>
                <a:schemeClr val="tx1">
                  <a:lumMod val="50000"/>
                  <a:lumOff val="50000"/>
                </a:schemeClr>
              </a:solidFill>
              <a:cs typeface="Arial"/>
            </a:endParaRPr>
          </a:p>
        </p:txBody>
      </p:sp>
      <p:sp>
        <p:nvSpPr>
          <p:cNvPr id="6" name="object 6"/>
          <p:cNvSpPr txBox="1"/>
          <p:nvPr/>
        </p:nvSpPr>
        <p:spPr>
          <a:xfrm>
            <a:off x="838198" y="1531553"/>
            <a:ext cx="2128088" cy="318269"/>
          </a:xfrm>
          <a:prstGeom prst="rect">
            <a:avLst/>
          </a:prstGeom>
        </p:spPr>
        <p:txBody>
          <a:bodyPr vert="horz" wrap="square" lIns="0" tIns="10391" rIns="0" bIns="0" rtlCol="0">
            <a:spAutoFit/>
          </a:bodyPr>
          <a:lstStyle/>
          <a:p>
            <a:pPr marL="11545">
              <a:spcBef>
                <a:spcPts val="81"/>
              </a:spcBef>
            </a:pPr>
            <a:r>
              <a:rPr sz="2000" b="1" spc="-9" dirty="0">
                <a:solidFill>
                  <a:srgbClr val="006FC0"/>
                </a:solidFill>
                <a:cs typeface="Arial"/>
              </a:rPr>
              <a:t>Public</a:t>
            </a:r>
            <a:r>
              <a:rPr sz="2000" b="1" spc="-32" dirty="0">
                <a:solidFill>
                  <a:srgbClr val="006FC0"/>
                </a:solidFill>
                <a:cs typeface="Arial"/>
              </a:rPr>
              <a:t> </a:t>
            </a:r>
            <a:r>
              <a:rPr sz="2000" b="1" spc="-4" dirty="0">
                <a:solidFill>
                  <a:srgbClr val="006FC0"/>
                </a:solidFill>
                <a:cs typeface="Arial"/>
              </a:rPr>
              <a:t>blockchain</a:t>
            </a:r>
            <a:endParaRPr sz="2000" dirty="0">
              <a:cs typeface="Arial"/>
            </a:endParaRPr>
          </a:p>
        </p:txBody>
      </p:sp>
      <p:sp>
        <p:nvSpPr>
          <p:cNvPr id="7" name="object 7"/>
          <p:cNvSpPr txBox="1"/>
          <p:nvPr/>
        </p:nvSpPr>
        <p:spPr>
          <a:xfrm>
            <a:off x="4476000" y="1932057"/>
            <a:ext cx="3240000" cy="4437928"/>
          </a:xfrm>
          <a:prstGeom prst="rect">
            <a:avLst/>
          </a:prstGeom>
          <a:ln w="9144">
            <a:solidFill>
              <a:srgbClr val="D9D9D9"/>
            </a:solidFill>
          </a:ln>
        </p:spPr>
        <p:txBody>
          <a:bodyPr vert="horz" wrap="square" lIns="0" tIns="36368" rIns="0" bIns="0" rtlCol="0">
            <a:spAutoFit/>
          </a:bodyPr>
          <a:lstStyle/>
          <a:p>
            <a:pPr marL="82546">
              <a:spcBef>
                <a:spcPts val="287"/>
              </a:spcBef>
            </a:pPr>
            <a:r>
              <a:rPr sz="1600" b="1" dirty="0">
                <a:solidFill>
                  <a:schemeClr val="tx1">
                    <a:lumMod val="50000"/>
                    <a:lumOff val="50000"/>
                  </a:schemeClr>
                </a:solidFill>
                <a:cs typeface="Arial"/>
              </a:rPr>
              <a:t>Example:</a:t>
            </a:r>
            <a:r>
              <a:rPr sz="1600" b="1" spc="-45" dirty="0">
                <a:solidFill>
                  <a:schemeClr val="tx1">
                    <a:lumMod val="50000"/>
                    <a:lumOff val="50000"/>
                  </a:schemeClr>
                </a:solidFill>
                <a:cs typeface="Arial"/>
              </a:rPr>
              <a:t> </a:t>
            </a:r>
            <a:r>
              <a:rPr sz="1600" spc="-4" dirty="0">
                <a:solidFill>
                  <a:schemeClr val="tx1">
                    <a:lumMod val="50000"/>
                    <a:lumOff val="50000"/>
                  </a:schemeClr>
                </a:solidFill>
                <a:cs typeface="Arial"/>
              </a:rPr>
              <a:t>Ripple</a:t>
            </a:r>
            <a:endParaRPr sz="1600" dirty="0">
              <a:solidFill>
                <a:schemeClr val="tx1">
                  <a:lumMod val="50000"/>
                  <a:lumOff val="50000"/>
                </a:schemeClr>
              </a:solidFill>
              <a:cs typeface="Arial"/>
            </a:endParaRPr>
          </a:p>
          <a:p>
            <a:pPr marL="82546" marR="208384">
              <a:spcBef>
                <a:spcPts val="877"/>
              </a:spcBef>
            </a:pPr>
            <a:r>
              <a:rPr sz="1600" dirty="0">
                <a:solidFill>
                  <a:schemeClr val="tx1">
                    <a:lumMod val="50000"/>
                    <a:lumOff val="50000"/>
                  </a:schemeClr>
                </a:solidFill>
                <a:cs typeface="Arial"/>
              </a:rPr>
              <a:t>A </a:t>
            </a:r>
            <a:r>
              <a:rPr sz="1600" spc="-4" dirty="0">
                <a:solidFill>
                  <a:schemeClr val="tx1">
                    <a:lumMod val="50000"/>
                    <a:lumOff val="50000"/>
                  </a:schemeClr>
                </a:solidFill>
                <a:cs typeface="Arial"/>
              </a:rPr>
              <a:t>private </a:t>
            </a:r>
            <a:r>
              <a:rPr sz="1600" dirty="0">
                <a:solidFill>
                  <a:schemeClr val="tx1">
                    <a:lumMod val="50000"/>
                    <a:lumOff val="50000"/>
                  </a:schemeClr>
                </a:solidFill>
                <a:cs typeface="Arial"/>
              </a:rPr>
              <a:t>blockchain </a:t>
            </a:r>
            <a:r>
              <a:rPr sz="1600" spc="-4" dirty="0">
                <a:solidFill>
                  <a:schemeClr val="tx1">
                    <a:lumMod val="50000"/>
                    <a:lumOff val="50000"/>
                  </a:schemeClr>
                </a:solidFill>
                <a:cs typeface="Arial"/>
              </a:rPr>
              <a:t>has </a:t>
            </a:r>
            <a:r>
              <a:rPr sz="1600" dirty="0">
                <a:solidFill>
                  <a:schemeClr val="tx1">
                    <a:lumMod val="50000"/>
                    <a:lumOff val="50000"/>
                  </a:schemeClr>
                </a:solidFill>
                <a:cs typeface="Arial"/>
              </a:rPr>
              <a:t>a company </a:t>
            </a:r>
            <a:r>
              <a:rPr sz="1600" spc="-4" dirty="0">
                <a:solidFill>
                  <a:schemeClr val="tx1">
                    <a:lumMod val="50000"/>
                    <a:lumOff val="50000"/>
                  </a:schemeClr>
                </a:solidFill>
                <a:cs typeface="Arial"/>
              </a:rPr>
              <a:t>writing and verifying</a:t>
            </a:r>
            <a:r>
              <a:rPr sz="1600" spc="-164" dirty="0">
                <a:solidFill>
                  <a:schemeClr val="tx1">
                    <a:lumMod val="50000"/>
                    <a:lumOff val="50000"/>
                  </a:schemeClr>
                </a:solidFill>
                <a:cs typeface="Arial"/>
              </a:rPr>
              <a:t> </a:t>
            </a:r>
            <a:r>
              <a:rPr sz="1600" spc="-4" dirty="0">
                <a:solidFill>
                  <a:schemeClr val="tx1">
                    <a:lumMod val="50000"/>
                    <a:lumOff val="50000"/>
                  </a:schemeClr>
                </a:solidFill>
                <a:cs typeface="Arial"/>
              </a:rPr>
              <a:t>each  transaction. </a:t>
            </a:r>
            <a:r>
              <a:rPr sz="1600" dirty="0">
                <a:solidFill>
                  <a:schemeClr val="tx1">
                    <a:lumMod val="50000"/>
                    <a:lumOff val="50000"/>
                  </a:schemeClr>
                </a:solidFill>
                <a:cs typeface="Arial"/>
              </a:rPr>
              <a:t>This </a:t>
            </a:r>
            <a:r>
              <a:rPr sz="1600" spc="-9" dirty="0">
                <a:solidFill>
                  <a:schemeClr val="tx1">
                    <a:lumMod val="50000"/>
                    <a:lumOff val="50000"/>
                  </a:schemeClr>
                </a:solidFill>
                <a:cs typeface="Arial"/>
              </a:rPr>
              <a:t>allows </a:t>
            </a:r>
            <a:r>
              <a:rPr sz="1600" spc="-4" dirty="0">
                <a:solidFill>
                  <a:schemeClr val="tx1">
                    <a:lumMod val="50000"/>
                    <a:lumOff val="50000"/>
                  </a:schemeClr>
                </a:solidFill>
                <a:cs typeface="Arial"/>
              </a:rPr>
              <a:t>for </a:t>
            </a:r>
            <a:r>
              <a:rPr sz="1600" dirty="0">
                <a:solidFill>
                  <a:schemeClr val="tx1">
                    <a:lumMod val="50000"/>
                    <a:lumOff val="50000"/>
                  </a:schemeClr>
                </a:solidFill>
                <a:cs typeface="Arial"/>
              </a:rPr>
              <a:t>much </a:t>
            </a:r>
            <a:r>
              <a:rPr sz="1600" spc="-4" dirty="0">
                <a:solidFill>
                  <a:schemeClr val="tx1">
                    <a:lumMod val="50000"/>
                    <a:lumOff val="50000"/>
                  </a:schemeClr>
                </a:solidFill>
                <a:cs typeface="Arial"/>
              </a:rPr>
              <a:t>greater </a:t>
            </a:r>
            <a:r>
              <a:rPr sz="1600" dirty="0">
                <a:solidFill>
                  <a:schemeClr val="tx1">
                    <a:lumMod val="50000"/>
                    <a:lumOff val="50000"/>
                  </a:schemeClr>
                </a:solidFill>
                <a:cs typeface="Arial"/>
              </a:rPr>
              <a:t>efficiency </a:t>
            </a:r>
            <a:r>
              <a:rPr sz="1600" spc="-4" dirty="0">
                <a:solidFill>
                  <a:schemeClr val="tx1">
                    <a:lumMod val="50000"/>
                    <a:lumOff val="50000"/>
                  </a:schemeClr>
                </a:solidFill>
                <a:cs typeface="Arial"/>
              </a:rPr>
              <a:t>and  </a:t>
            </a:r>
            <a:r>
              <a:rPr sz="1600" dirty="0">
                <a:solidFill>
                  <a:schemeClr val="tx1">
                    <a:lumMod val="50000"/>
                    <a:lumOff val="50000"/>
                  </a:schemeClr>
                </a:solidFill>
                <a:cs typeface="Arial"/>
              </a:rPr>
              <a:t>transactions on a </a:t>
            </a:r>
            <a:r>
              <a:rPr sz="1600" spc="-4" dirty="0">
                <a:solidFill>
                  <a:schemeClr val="tx1">
                    <a:lumMod val="50000"/>
                    <a:lumOff val="50000"/>
                  </a:schemeClr>
                </a:solidFill>
                <a:cs typeface="Arial"/>
              </a:rPr>
              <a:t>private </a:t>
            </a:r>
            <a:r>
              <a:rPr sz="1600" dirty="0">
                <a:solidFill>
                  <a:schemeClr val="tx1">
                    <a:lumMod val="50000"/>
                    <a:lumOff val="50000"/>
                  </a:schemeClr>
                </a:solidFill>
                <a:cs typeface="Arial"/>
              </a:rPr>
              <a:t>blockchain </a:t>
            </a:r>
            <a:r>
              <a:rPr sz="1600" spc="-9" dirty="0">
                <a:solidFill>
                  <a:schemeClr val="tx1">
                    <a:lumMod val="50000"/>
                    <a:lumOff val="50000"/>
                  </a:schemeClr>
                </a:solidFill>
                <a:cs typeface="Arial"/>
              </a:rPr>
              <a:t>will </a:t>
            </a:r>
            <a:r>
              <a:rPr sz="1600" dirty="0">
                <a:solidFill>
                  <a:schemeClr val="tx1">
                    <a:lumMod val="50000"/>
                    <a:lumOff val="50000"/>
                  </a:schemeClr>
                </a:solidFill>
                <a:cs typeface="Arial"/>
              </a:rPr>
              <a:t>be completed  </a:t>
            </a:r>
            <a:r>
              <a:rPr sz="1600" spc="-4" dirty="0">
                <a:solidFill>
                  <a:schemeClr val="tx1">
                    <a:lumMod val="50000"/>
                    <a:lumOff val="50000"/>
                  </a:schemeClr>
                </a:solidFill>
                <a:cs typeface="Arial"/>
              </a:rPr>
              <a:t>significantly</a:t>
            </a:r>
            <a:r>
              <a:rPr sz="1600" spc="-49" dirty="0">
                <a:solidFill>
                  <a:schemeClr val="tx1">
                    <a:lumMod val="50000"/>
                    <a:lumOff val="50000"/>
                  </a:schemeClr>
                </a:solidFill>
                <a:cs typeface="Arial"/>
              </a:rPr>
              <a:t> </a:t>
            </a:r>
            <a:r>
              <a:rPr sz="1600" spc="-13" dirty="0">
                <a:solidFill>
                  <a:schemeClr val="tx1">
                    <a:lumMod val="50000"/>
                    <a:lumOff val="50000"/>
                  </a:schemeClr>
                </a:solidFill>
                <a:cs typeface="Arial"/>
              </a:rPr>
              <a:t>faster.</a:t>
            </a:r>
            <a:endParaRPr lang="en-US" sz="1600" b="1" spc="-9" dirty="0">
              <a:solidFill>
                <a:schemeClr val="tx1">
                  <a:lumMod val="50000"/>
                  <a:lumOff val="50000"/>
                </a:schemeClr>
              </a:solidFill>
              <a:cs typeface="Arial"/>
            </a:endParaRPr>
          </a:p>
          <a:p>
            <a:pPr marL="81969" marR="123530">
              <a:spcBef>
                <a:spcPts val="873"/>
              </a:spcBef>
            </a:pPr>
            <a:r>
              <a:rPr sz="1600" b="1" spc="-4" dirty="0">
                <a:solidFill>
                  <a:schemeClr val="tx1">
                    <a:lumMod val="50000"/>
                    <a:lumOff val="50000"/>
                  </a:schemeClr>
                </a:solidFill>
                <a:cs typeface="Arial"/>
              </a:rPr>
              <a:t>Advantage:</a:t>
            </a:r>
            <a:r>
              <a:rPr lang="en-US" sz="1600" b="1" spc="-4" dirty="0">
                <a:solidFill>
                  <a:schemeClr val="tx1">
                    <a:lumMod val="50000"/>
                    <a:lumOff val="50000"/>
                  </a:schemeClr>
                </a:solidFill>
                <a:cs typeface="Arial"/>
              </a:rPr>
              <a:t> </a:t>
            </a:r>
            <a:r>
              <a:rPr sz="1600" spc="-4" dirty="0">
                <a:solidFill>
                  <a:schemeClr val="tx1">
                    <a:lumMod val="50000"/>
                    <a:lumOff val="50000"/>
                  </a:schemeClr>
                </a:solidFill>
                <a:cs typeface="Arial"/>
              </a:rPr>
              <a:t>High</a:t>
            </a:r>
            <a:r>
              <a:rPr lang="en-US" sz="1600" spc="-4" dirty="0">
                <a:solidFill>
                  <a:schemeClr val="tx1">
                    <a:lumMod val="50000"/>
                    <a:lumOff val="50000"/>
                  </a:schemeClr>
                </a:solidFill>
                <a:cs typeface="Arial"/>
              </a:rPr>
              <a:t> </a:t>
            </a:r>
            <a:r>
              <a:rPr sz="1600" spc="-4" dirty="0">
                <a:solidFill>
                  <a:schemeClr val="tx1">
                    <a:lumMod val="50000"/>
                    <a:lumOff val="50000"/>
                  </a:schemeClr>
                </a:solidFill>
                <a:cs typeface="Arial"/>
              </a:rPr>
              <a:t>transaction speed,</a:t>
            </a:r>
            <a:r>
              <a:rPr lang="en-US" sz="1600" spc="-4" dirty="0">
                <a:solidFill>
                  <a:schemeClr val="tx1">
                    <a:lumMod val="50000"/>
                    <a:lumOff val="50000"/>
                  </a:schemeClr>
                </a:solidFill>
                <a:cs typeface="Arial"/>
              </a:rPr>
              <a:t> </a:t>
            </a:r>
            <a:r>
              <a:rPr sz="1600" spc="-4" dirty="0">
                <a:solidFill>
                  <a:schemeClr val="tx1">
                    <a:lumMod val="50000"/>
                    <a:lumOff val="50000"/>
                  </a:schemeClr>
                </a:solidFill>
                <a:cs typeface="Arial"/>
              </a:rPr>
              <a:t>privacy</a:t>
            </a:r>
            <a:endParaRPr lang="en-US" sz="1600" spc="-4" dirty="0">
              <a:solidFill>
                <a:schemeClr val="tx1">
                  <a:lumMod val="50000"/>
                  <a:lumOff val="50000"/>
                </a:schemeClr>
              </a:solidFill>
              <a:cs typeface="Arial"/>
            </a:endParaRPr>
          </a:p>
          <a:p>
            <a:pPr marL="81969" marR="123530">
              <a:spcBef>
                <a:spcPts val="873"/>
              </a:spcBef>
            </a:pPr>
            <a:endParaRPr lang="en-US" sz="1600" spc="-4" dirty="0">
              <a:solidFill>
                <a:schemeClr val="tx1">
                  <a:lumMod val="50000"/>
                  <a:lumOff val="50000"/>
                </a:schemeClr>
              </a:solidFill>
              <a:cs typeface="Arial"/>
            </a:endParaRPr>
          </a:p>
          <a:p>
            <a:pPr marL="81969" marR="123530">
              <a:spcBef>
                <a:spcPts val="873"/>
              </a:spcBef>
            </a:pPr>
            <a:endParaRPr lang="en-US" sz="1600" spc="-4" dirty="0">
              <a:solidFill>
                <a:schemeClr val="tx1">
                  <a:lumMod val="50000"/>
                  <a:lumOff val="50000"/>
                </a:schemeClr>
              </a:solidFill>
              <a:cs typeface="Arial"/>
            </a:endParaRPr>
          </a:p>
          <a:p>
            <a:pPr marL="81969" marR="123530"/>
            <a:r>
              <a:rPr sz="1600" b="1" spc="-4" dirty="0">
                <a:solidFill>
                  <a:schemeClr val="tx1">
                    <a:lumMod val="50000"/>
                    <a:lumOff val="50000"/>
                  </a:schemeClr>
                </a:solidFill>
                <a:cs typeface="Arial"/>
              </a:rPr>
              <a:t>Disadvantage:</a:t>
            </a:r>
            <a:r>
              <a:rPr lang="en-US" sz="1600" b="1" spc="-4" dirty="0">
                <a:solidFill>
                  <a:schemeClr val="tx1">
                    <a:lumMod val="50000"/>
                    <a:lumOff val="50000"/>
                  </a:schemeClr>
                </a:solidFill>
                <a:cs typeface="Arial"/>
              </a:rPr>
              <a:t> </a:t>
            </a:r>
            <a:r>
              <a:rPr sz="1600" spc="-4" dirty="0">
                <a:solidFill>
                  <a:schemeClr val="tx1">
                    <a:lumMod val="50000"/>
                    <a:lumOff val="50000"/>
                  </a:schemeClr>
                </a:solidFill>
                <a:cs typeface="Arial"/>
              </a:rPr>
              <a:t>Low decentralized</a:t>
            </a:r>
            <a:r>
              <a:rPr lang="en-US" sz="1600" spc="-4" dirty="0">
                <a:solidFill>
                  <a:schemeClr val="tx1">
                    <a:lumMod val="50000"/>
                    <a:lumOff val="50000"/>
                  </a:schemeClr>
                </a:solidFill>
                <a:cs typeface="Arial"/>
              </a:rPr>
              <a:t> </a:t>
            </a:r>
            <a:r>
              <a:rPr sz="1600" spc="-4" dirty="0">
                <a:solidFill>
                  <a:schemeClr val="tx1">
                    <a:lumMod val="50000"/>
                    <a:lumOff val="50000"/>
                  </a:schemeClr>
                </a:solidFill>
                <a:cs typeface="Arial"/>
              </a:rPr>
              <a:t>security  </a:t>
            </a:r>
            <a:endParaRPr lang="en-US" sz="1600" spc="-4" dirty="0">
              <a:solidFill>
                <a:schemeClr val="tx1">
                  <a:lumMod val="50000"/>
                  <a:lumOff val="50000"/>
                </a:schemeClr>
              </a:solidFill>
              <a:cs typeface="Arial"/>
            </a:endParaRPr>
          </a:p>
          <a:p>
            <a:pPr marL="81969" marR="123530"/>
            <a:endParaRPr lang="en-US" sz="1600" b="1" spc="-4" dirty="0">
              <a:solidFill>
                <a:schemeClr val="tx1">
                  <a:lumMod val="50000"/>
                  <a:lumOff val="50000"/>
                </a:schemeClr>
              </a:solidFill>
              <a:cs typeface="Arial"/>
            </a:endParaRPr>
          </a:p>
          <a:p>
            <a:pPr marL="81969" marR="123530"/>
            <a:r>
              <a:rPr sz="1600" b="1" spc="-4" dirty="0">
                <a:solidFill>
                  <a:schemeClr val="tx1">
                    <a:lumMod val="50000"/>
                    <a:lumOff val="50000"/>
                  </a:schemeClr>
                </a:solidFill>
                <a:cs typeface="Arial"/>
              </a:rPr>
              <a:t>Use case: </a:t>
            </a:r>
            <a:r>
              <a:rPr sz="1600" spc="-4" dirty="0">
                <a:solidFill>
                  <a:schemeClr val="tx1">
                    <a:lumMod val="50000"/>
                    <a:lumOff val="50000"/>
                  </a:schemeClr>
                </a:solidFill>
                <a:cs typeface="Arial"/>
              </a:rPr>
              <a:t>Enabling traditional business</a:t>
            </a:r>
          </a:p>
        </p:txBody>
      </p:sp>
      <p:sp>
        <p:nvSpPr>
          <p:cNvPr id="8" name="object 8"/>
          <p:cNvSpPr txBox="1"/>
          <p:nvPr/>
        </p:nvSpPr>
        <p:spPr>
          <a:xfrm>
            <a:off x="4476000" y="1506402"/>
            <a:ext cx="2246666" cy="318269"/>
          </a:xfrm>
          <a:prstGeom prst="rect">
            <a:avLst/>
          </a:prstGeom>
        </p:spPr>
        <p:txBody>
          <a:bodyPr vert="horz" wrap="square" lIns="0" tIns="10391" rIns="0" bIns="0" rtlCol="0">
            <a:spAutoFit/>
          </a:bodyPr>
          <a:lstStyle/>
          <a:p>
            <a:pPr marL="11545">
              <a:spcBef>
                <a:spcPts val="81"/>
              </a:spcBef>
            </a:pPr>
            <a:r>
              <a:rPr sz="2000" b="1" spc="-9" dirty="0">
                <a:solidFill>
                  <a:srgbClr val="006FC0"/>
                </a:solidFill>
                <a:cs typeface="Arial"/>
              </a:rPr>
              <a:t>Private</a:t>
            </a:r>
            <a:r>
              <a:rPr sz="2000" b="1" spc="-19" dirty="0">
                <a:solidFill>
                  <a:srgbClr val="006FC0"/>
                </a:solidFill>
                <a:cs typeface="Arial"/>
              </a:rPr>
              <a:t> </a:t>
            </a:r>
            <a:r>
              <a:rPr sz="2000" b="1" spc="-4" dirty="0">
                <a:solidFill>
                  <a:srgbClr val="006FC0"/>
                </a:solidFill>
                <a:cs typeface="Arial"/>
              </a:rPr>
              <a:t>blockchain</a:t>
            </a:r>
            <a:endParaRPr sz="2000">
              <a:cs typeface="Arial"/>
            </a:endParaRPr>
          </a:p>
        </p:txBody>
      </p:sp>
      <p:sp>
        <p:nvSpPr>
          <p:cNvPr id="9" name="object 9"/>
          <p:cNvSpPr txBox="1"/>
          <p:nvPr/>
        </p:nvSpPr>
        <p:spPr>
          <a:xfrm>
            <a:off x="8232380" y="1464542"/>
            <a:ext cx="2820295" cy="318852"/>
          </a:xfrm>
          <a:prstGeom prst="rect">
            <a:avLst/>
          </a:prstGeom>
        </p:spPr>
        <p:txBody>
          <a:bodyPr vert="horz" wrap="square" lIns="0" tIns="10968" rIns="0" bIns="0" rtlCol="0">
            <a:spAutoFit/>
          </a:bodyPr>
          <a:lstStyle/>
          <a:p>
            <a:pPr marL="11545">
              <a:spcBef>
                <a:spcPts val="87"/>
              </a:spcBef>
            </a:pPr>
            <a:r>
              <a:rPr sz="2000" b="1" spc="-4" dirty="0">
                <a:solidFill>
                  <a:srgbClr val="006FC0"/>
                </a:solidFill>
                <a:cs typeface="Arial"/>
              </a:rPr>
              <a:t>Consortium</a:t>
            </a:r>
            <a:r>
              <a:rPr sz="2000" b="1" spc="-32" dirty="0">
                <a:solidFill>
                  <a:srgbClr val="006FC0"/>
                </a:solidFill>
                <a:cs typeface="Arial"/>
              </a:rPr>
              <a:t> </a:t>
            </a:r>
            <a:r>
              <a:rPr sz="2000" b="1" spc="-4" dirty="0">
                <a:solidFill>
                  <a:srgbClr val="006FC0"/>
                </a:solidFill>
                <a:cs typeface="Arial"/>
              </a:rPr>
              <a:t>blockchain</a:t>
            </a:r>
            <a:endParaRPr sz="2000" dirty="0">
              <a:cs typeface="Arial"/>
            </a:endParaRPr>
          </a:p>
        </p:txBody>
      </p:sp>
      <p:sp>
        <p:nvSpPr>
          <p:cNvPr id="10" name="object 10"/>
          <p:cNvSpPr txBox="1"/>
          <p:nvPr/>
        </p:nvSpPr>
        <p:spPr>
          <a:xfrm>
            <a:off x="8113800" y="1932057"/>
            <a:ext cx="3240000" cy="4407733"/>
          </a:xfrm>
          <a:prstGeom prst="rect">
            <a:avLst/>
          </a:prstGeom>
          <a:ln w="9144">
            <a:solidFill>
              <a:srgbClr val="D9D9D9"/>
            </a:solidFill>
          </a:ln>
        </p:spPr>
        <p:txBody>
          <a:bodyPr vert="horz" wrap="square" lIns="0" tIns="36945" rIns="0" bIns="0" rtlCol="0">
            <a:spAutoFit/>
          </a:bodyPr>
          <a:lstStyle/>
          <a:p>
            <a:pPr marL="82546">
              <a:spcBef>
                <a:spcPts val="291"/>
              </a:spcBef>
            </a:pPr>
            <a:r>
              <a:rPr sz="1600" b="1" dirty="0">
                <a:solidFill>
                  <a:schemeClr val="tx1">
                    <a:lumMod val="50000"/>
                    <a:lumOff val="50000"/>
                  </a:schemeClr>
                </a:solidFill>
                <a:cs typeface="Arial"/>
              </a:rPr>
              <a:t>Example: </a:t>
            </a:r>
            <a:r>
              <a:rPr sz="1600" spc="-4" dirty="0">
                <a:solidFill>
                  <a:schemeClr val="tx1">
                    <a:lumMod val="50000"/>
                    <a:lumOff val="50000"/>
                  </a:schemeClr>
                </a:solidFill>
                <a:cs typeface="Arial"/>
              </a:rPr>
              <a:t>R3, </a:t>
            </a:r>
            <a:r>
              <a:rPr sz="1600" spc="-13" dirty="0">
                <a:solidFill>
                  <a:schemeClr val="tx1">
                    <a:lumMod val="50000"/>
                    <a:lumOff val="50000"/>
                  </a:schemeClr>
                </a:solidFill>
                <a:cs typeface="Arial"/>
              </a:rPr>
              <a:t>Hyperleder, </a:t>
            </a:r>
            <a:r>
              <a:rPr sz="1600" spc="-4" dirty="0">
                <a:solidFill>
                  <a:schemeClr val="tx1">
                    <a:lumMod val="50000"/>
                    <a:lumOff val="50000"/>
                  </a:schemeClr>
                </a:solidFill>
                <a:cs typeface="Arial"/>
              </a:rPr>
              <a:t>Enterprise Ethereum</a:t>
            </a:r>
            <a:r>
              <a:rPr sz="1600" spc="-113" dirty="0">
                <a:solidFill>
                  <a:schemeClr val="tx1">
                    <a:lumMod val="50000"/>
                    <a:lumOff val="50000"/>
                  </a:schemeClr>
                </a:solidFill>
                <a:cs typeface="Arial"/>
              </a:rPr>
              <a:t> </a:t>
            </a:r>
            <a:r>
              <a:rPr sz="1600" dirty="0">
                <a:solidFill>
                  <a:schemeClr val="tx1">
                    <a:lumMod val="50000"/>
                    <a:lumOff val="50000"/>
                  </a:schemeClr>
                </a:solidFill>
                <a:cs typeface="Arial"/>
              </a:rPr>
              <a:t>Alliance</a:t>
            </a:r>
          </a:p>
          <a:p>
            <a:pPr marL="82546">
              <a:spcBef>
                <a:spcPts val="873"/>
              </a:spcBef>
            </a:pPr>
            <a:r>
              <a:rPr sz="1600" spc="-4" dirty="0">
                <a:solidFill>
                  <a:schemeClr val="tx1">
                    <a:lumMod val="50000"/>
                    <a:lumOff val="50000"/>
                  </a:schemeClr>
                </a:solidFill>
                <a:cs typeface="Arial"/>
              </a:rPr>
              <a:t>Consortium </a:t>
            </a:r>
            <a:r>
              <a:rPr sz="1600" dirty="0">
                <a:solidFill>
                  <a:schemeClr val="tx1">
                    <a:lumMod val="50000"/>
                    <a:lumOff val="50000"/>
                  </a:schemeClr>
                </a:solidFill>
                <a:cs typeface="Arial"/>
              </a:rPr>
              <a:t>blockchain is </a:t>
            </a:r>
            <a:r>
              <a:rPr sz="1600" spc="-4" dirty="0">
                <a:solidFill>
                  <a:schemeClr val="tx1">
                    <a:lumMod val="50000"/>
                    <a:lumOff val="50000"/>
                  </a:schemeClr>
                </a:solidFill>
                <a:cs typeface="Arial"/>
              </a:rPr>
              <a:t>partly private, allowing </a:t>
            </a:r>
            <a:r>
              <a:rPr sz="1600" dirty="0">
                <a:solidFill>
                  <a:schemeClr val="tx1">
                    <a:lumMod val="50000"/>
                    <a:lumOff val="50000"/>
                  </a:schemeClr>
                </a:solidFill>
                <a:cs typeface="Arial"/>
              </a:rPr>
              <a:t>a few</a:t>
            </a:r>
            <a:r>
              <a:rPr sz="1600" spc="-59" dirty="0">
                <a:solidFill>
                  <a:schemeClr val="tx1">
                    <a:lumMod val="50000"/>
                    <a:lumOff val="50000"/>
                  </a:schemeClr>
                </a:solidFill>
                <a:cs typeface="Arial"/>
              </a:rPr>
              <a:t> </a:t>
            </a:r>
            <a:r>
              <a:rPr sz="1600" dirty="0">
                <a:solidFill>
                  <a:schemeClr val="tx1">
                    <a:lumMod val="50000"/>
                    <a:lumOff val="50000"/>
                  </a:schemeClr>
                </a:solidFill>
                <a:cs typeface="Arial"/>
              </a:rPr>
              <a:t>selected</a:t>
            </a:r>
          </a:p>
          <a:p>
            <a:pPr marL="82546"/>
            <a:r>
              <a:rPr sz="1600" spc="-4" dirty="0">
                <a:solidFill>
                  <a:schemeClr val="tx1">
                    <a:lumMod val="50000"/>
                    <a:lumOff val="50000"/>
                  </a:schemeClr>
                </a:solidFill>
                <a:cs typeface="Arial"/>
              </a:rPr>
              <a:t>nodes </a:t>
            </a:r>
            <a:r>
              <a:rPr sz="1600" dirty="0">
                <a:solidFill>
                  <a:schemeClr val="tx1">
                    <a:lumMod val="50000"/>
                    <a:lumOff val="50000"/>
                  </a:schemeClr>
                </a:solidFill>
                <a:cs typeface="Arial"/>
              </a:rPr>
              <a:t>to </a:t>
            </a:r>
            <a:r>
              <a:rPr sz="1600" spc="-9" dirty="0">
                <a:solidFill>
                  <a:schemeClr val="tx1">
                    <a:lumMod val="50000"/>
                    <a:lumOff val="50000"/>
                  </a:schemeClr>
                </a:solidFill>
                <a:cs typeface="Arial"/>
              </a:rPr>
              <a:t>write </a:t>
            </a:r>
            <a:r>
              <a:rPr sz="1600" spc="-4" dirty="0">
                <a:solidFill>
                  <a:schemeClr val="tx1">
                    <a:lumMod val="50000"/>
                    <a:lumOff val="50000"/>
                  </a:schemeClr>
                </a:solidFill>
                <a:cs typeface="Arial"/>
              </a:rPr>
              <a:t>and verify</a:t>
            </a:r>
            <a:r>
              <a:rPr sz="1600" spc="13" dirty="0">
                <a:solidFill>
                  <a:schemeClr val="tx1">
                    <a:lumMod val="50000"/>
                    <a:lumOff val="50000"/>
                  </a:schemeClr>
                </a:solidFill>
                <a:cs typeface="Arial"/>
              </a:rPr>
              <a:t> </a:t>
            </a:r>
            <a:r>
              <a:rPr sz="1600" spc="-4" dirty="0">
                <a:solidFill>
                  <a:schemeClr val="tx1">
                    <a:lumMod val="50000"/>
                    <a:lumOff val="50000"/>
                  </a:schemeClr>
                </a:solidFill>
                <a:cs typeface="Arial"/>
              </a:rPr>
              <a:t>transactions.</a:t>
            </a:r>
            <a:endParaRPr sz="1600" dirty="0">
              <a:solidFill>
                <a:schemeClr val="tx1">
                  <a:lumMod val="50000"/>
                  <a:lumOff val="50000"/>
                </a:schemeClr>
              </a:solidFill>
              <a:cs typeface="Arial"/>
            </a:endParaRPr>
          </a:p>
          <a:p>
            <a:pPr marL="82546">
              <a:spcBef>
                <a:spcPts val="873"/>
              </a:spcBef>
            </a:pPr>
            <a:r>
              <a:rPr sz="1600" b="1" spc="-9" dirty="0">
                <a:solidFill>
                  <a:schemeClr val="tx1">
                    <a:lumMod val="50000"/>
                    <a:lumOff val="50000"/>
                  </a:schemeClr>
                </a:solidFill>
                <a:cs typeface="Arial"/>
              </a:rPr>
              <a:t>Advantage: </a:t>
            </a:r>
            <a:r>
              <a:rPr sz="1600" dirty="0">
                <a:solidFill>
                  <a:schemeClr val="tx1">
                    <a:lumMod val="50000"/>
                    <a:lumOff val="50000"/>
                  </a:schemeClr>
                </a:solidFill>
                <a:cs typeface="Arial"/>
              </a:rPr>
              <a:t>High </a:t>
            </a:r>
            <a:r>
              <a:rPr sz="1600" spc="-4" dirty="0">
                <a:solidFill>
                  <a:schemeClr val="tx1">
                    <a:lumMod val="50000"/>
                    <a:lumOff val="50000"/>
                  </a:schemeClr>
                </a:solidFill>
                <a:cs typeface="Arial"/>
              </a:rPr>
              <a:t>transaction speed,</a:t>
            </a:r>
            <a:r>
              <a:rPr sz="1600" spc="-9" dirty="0">
                <a:solidFill>
                  <a:schemeClr val="tx1">
                    <a:lumMod val="50000"/>
                    <a:lumOff val="50000"/>
                  </a:schemeClr>
                </a:solidFill>
                <a:cs typeface="Arial"/>
              </a:rPr>
              <a:t> </a:t>
            </a:r>
            <a:r>
              <a:rPr sz="1600" spc="-4" dirty="0">
                <a:solidFill>
                  <a:schemeClr val="tx1">
                    <a:lumMod val="50000"/>
                    <a:lumOff val="50000"/>
                  </a:schemeClr>
                </a:solidFill>
                <a:cs typeface="Arial"/>
              </a:rPr>
              <a:t>privacy</a:t>
            </a:r>
            <a:endParaRPr sz="1600" dirty="0">
              <a:solidFill>
                <a:schemeClr val="tx1">
                  <a:lumMod val="50000"/>
                  <a:lumOff val="50000"/>
                </a:schemeClr>
              </a:solidFill>
              <a:cs typeface="Arial"/>
            </a:endParaRPr>
          </a:p>
          <a:p>
            <a:pPr marL="82546">
              <a:spcBef>
                <a:spcPts val="877"/>
              </a:spcBef>
            </a:pPr>
            <a:r>
              <a:rPr sz="1600" b="1" spc="-4" dirty="0">
                <a:solidFill>
                  <a:schemeClr val="tx1">
                    <a:lumMod val="50000"/>
                    <a:lumOff val="50000"/>
                  </a:schemeClr>
                </a:solidFill>
                <a:cs typeface="Arial"/>
              </a:rPr>
              <a:t>Disadvantage: </a:t>
            </a:r>
            <a:r>
              <a:rPr sz="1600" spc="-4" dirty="0">
                <a:solidFill>
                  <a:schemeClr val="tx1">
                    <a:lumMod val="50000"/>
                    <a:lumOff val="50000"/>
                  </a:schemeClr>
                </a:solidFill>
                <a:cs typeface="Arial"/>
              </a:rPr>
              <a:t>Low decentralized</a:t>
            </a:r>
            <a:r>
              <a:rPr sz="1600" spc="-49" dirty="0">
                <a:solidFill>
                  <a:schemeClr val="tx1">
                    <a:lumMod val="50000"/>
                    <a:lumOff val="50000"/>
                  </a:schemeClr>
                </a:solidFill>
                <a:cs typeface="Arial"/>
              </a:rPr>
              <a:t> </a:t>
            </a:r>
            <a:r>
              <a:rPr sz="1600" spc="-4" dirty="0">
                <a:solidFill>
                  <a:schemeClr val="tx1">
                    <a:lumMod val="50000"/>
                    <a:lumOff val="50000"/>
                  </a:schemeClr>
                </a:solidFill>
                <a:cs typeface="Arial"/>
              </a:rPr>
              <a:t>security</a:t>
            </a:r>
            <a:endParaRPr sz="1600" dirty="0">
              <a:solidFill>
                <a:schemeClr val="tx1">
                  <a:lumMod val="50000"/>
                  <a:lumOff val="50000"/>
                </a:schemeClr>
              </a:solidFill>
              <a:cs typeface="Arial"/>
            </a:endParaRPr>
          </a:p>
          <a:p>
            <a:pPr marL="82546">
              <a:spcBef>
                <a:spcPts val="873"/>
              </a:spcBef>
            </a:pPr>
            <a:r>
              <a:rPr sz="1600" b="1" spc="-4" dirty="0">
                <a:solidFill>
                  <a:schemeClr val="tx1">
                    <a:lumMod val="50000"/>
                    <a:lumOff val="50000"/>
                  </a:schemeClr>
                </a:solidFill>
                <a:cs typeface="Arial"/>
              </a:rPr>
              <a:t>Use case: </a:t>
            </a:r>
            <a:r>
              <a:rPr sz="1600" spc="-4" dirty="0">
                <a:solidFill>
                  <a:schemeClr val="tx1">
                    <a:lumMod val="50000"/>
                    <a:lumOff val="50000"/>
                  </a:schemeClr>
                </a:solidFill>
                <a:cs typeface="Arial"/>
              </a:rPr>
              <a:t>Cross platform</a:t>
            </a:r>
            <a:r>
              <a:rPr sz="1600" spc="-19" dirty="0">
                <a:solidFill>
                  <a:schemeClr val="tx1">
                    <a:lumMod val="50000"/>
                    <a:lumOff val="50000"/>
                  </a:schemeClr>
                </a:solidFill>
                <a:cs typeface="Arial"/>
              </a:rPr>
              <a:t> </a:t>
            </a:r>
            <a:r>
              <a:rPr sz="1600" spc="-4" dirty="0">
                <a:solidFill>
                  <a:schemeClr val="tx1">
                    <a:lumMod val="50000"/>
                    <a:lumOff val="50000"/>
                  </a:schemeClr>
                </a:solidFill>
                <a:cs typeface="Arial"/>
              </a:rPr>
              <a:t>cooperation</a:t>
            </a:r>
            <a:endParaRPr lang="en-US" sz="1600" spc="-4" dirty="0">
              <a:solidFill>
                <a:schemeClr val="tx1">
                  <a:lumMod val="50000"/>
                  <a:lumOff val="50000"/>
                </a:schemeClr>
              </a:solidFill>
              <a:cs typeface="Arial"/>
            </a:endParaRPr>
          </a:p>
          <a:p>
            <a:pPr marL="82546">
              <a:spcBef>
                <a:spcPts val="873"/>
              </a:spcBef>
            </a:pPr>
            <a:endParaRPr lang="en-US" sz="1600" spc="-4" dirty="0">
              <a:solidFill>
                <a:schemeClr val="tx1">
                  <a:lumMod val="50000"/>
                  <a:lumOff val="50000"/>
                </a:schemeClr>
              </a:solidFill>
              <a:cs typeface="Arial"/>
            </a:endParaRPr>
          </a:p>
          <a:p>
            <a:pPr marL="82546">
              <a:spcBef>
                <a:spcPts val="873"/>
              </a:spcBef>
            </a:pPr>
            <a:endParaRPr lang="en-US" sz="1600" spc="-4" dirty="0">
              <a:solidFill>
                <a:schemeClr val="tx1">
                  <a:lumMod val="50000"/>
                  <a:lumOff val="50000"/>
                </a:schemeClr>
              </a:solidFill>
              <a:cs typeface="Arial"/>
            </a:endParaRPr>
          </a:p>
          <a:p>
            <a:pPr marL="82546">
              <a:spcBef>
                <a:spcPts val="873"/>
              </a:spcBef>
            </a:pPr>
            <a:endParaRPr lang="en-US" sz="1600" spc="-4" dirty="0">
              <a:solidFill>
                <a:schemeClr val="tx1">
                  <a:lumMod val="50000"/>
                  <a:lumOff val="50000"/>
                </a:schemeClr>
              </a:solidFill>
              <a:cs typeface="Arial"/>
            </a:endParaRPr>
          </a:p>
          <a:p>
            <a:pPr marL="82546">
              <a:spcBef>
                <a:spcPts val="873"/>
              </a:spcBef>
            </a:pPr>
            <a:endParaRPr sz="1600" dirty="0">
              <a:solidFill>
                <a:schemeClr val="tx1">
                  <a:lumMod val="50000"/>
                  <a:lumOff val="50000"/>
                </a:schemeClr>
              </a:solidFill>
              <a:cs typeface="Arial"/>
            </a:endParaRPr>
          </a:p>
        </p:txBody>
      </p:sp>
      <p:sp>
        <p:nvSpPr>
          <p:cNvPr id="4" name="Title 3"/>
          <p:cNvSpPr>
            <a:spLocks noGrp="1"/>
          </p:cNvSpPr>
          <p:nvPr>
            <p:ph type="title"/>
          </p:nvPr>
        </p:nvSpPr>
        <p:spPr>
          <a:xfrm>
            <a:off x="713984" y="365125"/>
            <a:ext cx="10639816" cy="1325563"/>
          </a:xfrm>
        </p:spPr>
        <p:txBody>
          <a:bodyPr/>
          <a:lstStyle/>
          <a:p>
            <a:r>
              <a:rPr lang="en-US" sz="2800" b="1" dirty="0">
                <a:solidFill>
                  <a:srgbClr val="0070C0"/>
                </a:solidFill>
                <a:latin typeface="Arial" panose="020B0604020202020204" pitchFamily="34" charset="0"/>
                <a:cs typeface="Arial" panose="020B0604020202020204" pitchFamily="34" charset="0"/>
              </a:rPr>
              <a:t>Public blockchain vs Private blockchain</a:t>
            </a:r>
          </a:p>
        </p:txBody>
      </p:sp>
      <p:sp>
        <p:nvSpPr>
          <p:cNvPr id="11" name="Slide Number Placeholder 4">
            <a:extLst>
              <a:ext uri="{FF2B5EF4-FFF2-40B4-BE49-F238E27FC236}">
                <a16:creationId xmlns:a16="http://schemas.microsoft.com/office/drawing/2014/main" id="{23023278-934E-3C47-8C12-E30E7B3A1048}"/>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8</a:t>
            </a:fld>
            <a:endParaRPr lang="uk-UA" dirty="0"/>
          </a:p>
        </p:txBody>
      </p:sp>
    </p:spTree>
    <p:extLst>
      <p:ext uri="{BB962C8B-B14F-4D97-AF65-F5344CB8AC3E}">
        <p14:creationId xmlns:p14="http://schemas.microsoft.com/office/powerpoint/2010/main" val="1414356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5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28" name="Content Placeholder 5"/>
          <p:cNvSpPr txBox="1">
            <a:spLocks/>
          </p:cNvSpPr>
          <p:nvPr/>
        </p:nvSpPr>
        <p:spPr bwMode="auto">
          <a:xfrm>
            <a:off x="5728132" y="3832209"/>
            <a:ext cx="4965628" cy="802844"/>
          </a:xfrm>
          <a:prstGeom prst="rect">
            <a:avLst/>
          </a:prstGeom>
          <a:noFill/>
          <a:ln w="9525">
            <a:noFill/>
            <a:miter lim="800000"/>
            <a:headEnd/>
            <a:tailEnd/>
          </a:ln>
          <a:effectLst/>
        </p:spPr>
        <p:txBody>
          <a:bodyPr vert="horz" wrap="square" lIns="24384" tIns="0" rIns="0" bIns="0" numCol="1" anchor="t" anchorCtr="0" compatLnSpc="1">
            <a:prstTxWarp prst="textNoShape">
              <a:avLst/>
            </a:prstTxWarp>
          </a:bodyPr>
          <a:lstStyle>
            <a:lvl1pPr marL="182880" indent="-182880" algn="l" rtl="0" fontAlgn="base">
              <a:spcBef>
                <a:spcPts val="0"/>
              </a:spcBef>
              <a:spcAft>
                <a:spcPts val="800"/>
              </a:spcAft>
              <a:buClrTx/>
              <a:buSzPct val="100000"/>
              <a:buFont typeface="Arial" charset="0"/>
              <a:buChar char="•"/>
              <a:defRPr sz="1400">
                <a:solidFill>
                  <a:schemeClr val="bg2"/>
                </a:solidFill>
                <a:latin typeface="+mn-lt"/>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chemeClr val="bg1">
                    <a:lumMod val="50000"/>
                  </a:schemeClr>
                </a:solidFill>
                <a:latin typeface="+mn-lt"/>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chemeClr val="bg1">
                    <a:lumMod val="50000"/>
                  </a:schemeClr>
                </a:solidFill>
                <a:latin typeface="+mn-lt"/>
                <a:cs typeface="Arial" pitchFamily="34" charset="0"/>
              </a:defRPr>
            </a:lvl3pPr>
            <a:lvl4pPr marL="1203325" indent="-173038" algn="l" rtl="0" fontAlgn="base">
              <a:spcBef>
                <a:spcPct val="20000"/>
              </a:spcBef>
              <a:spcAft>
                <a:spcPct val="0"/>
              </a:spcAft>
              <a:buClr>
                <a:schemeClr val="bg1"/>
              </a:buClr>
              <a:defRPr sz="1600">
                <a:solidFill>
                  <a:schemeClr val="bg1">
                    <a:lumMod val="50000"/>
                  </a:schemeClr>
                </a:solidFill>
                <a:latin typeface="+mn-lt"/>
              </a:defRPr>
            </a:lvl4pPr>
            <a:lvl5pPr marL="1539875" indent="-163513" algn="l" rtl="0" fontAlgn="base">
              <a:spcBef>
                <a:spcPct val="20000"/>
              </a:spcBef>
              <a:spcAft>
                <a:spcPct val="0"/>
              </a:spcAft>
              <a:buClr>
                <a:schemeClr val="bg1"/>
              </a:buClr>
              <a:buChar char="»"/>
              <a:defRPr sz="1600">
                <a:solidFill>
                  <a:schemeClr val="bg1">
                    <a:lumMod val="50000"/>
                  </a:schemeClr>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spcBef>
                <a:spcPct val="0"/>
              </a:spcBef>
              <a:spcAft>
                <a:spcPts val="400"/>
              </a:spcAft>
              <a:buSzTx/>
              <a:buNone/>
            </a:pPr>
            <a:r>
              <a:rPr lang="en-US" sz="1600" dirty="0">
                <a:solidFill>
                  <a:schemeClr val="tx1"/>
                </a:solidFill>
                <a:latin typeface="Arial" charset="0"/>
                <a:ea typeface="Arial" charset="0"/>
                <a:cs typeface="Arial"/>
              </a:rPr>
              <a:t>Infrastructure, developers tools, reusable assets and network services to enable the creation and management of Blockchain business networks</a:t>
            </a:r>
          </a:p>
          <a:p>
            <a:pPr marL="0" indent="0">
              <a:spcBef>
                <a:spcPct val="0"/>
              </a:spcBef>
              <a:spcAft>
                <a:spcPts val="400"/>
              </a:spcAft>
              <a:buNone/>
            </a:pPr>
            <a:endParaRPr lang="en-US" sz="1600" dirty="0">
              <a:solidFill>
                <a:schemeClr val="tx1"/>
              </a:solidFill>
              <a:latin typeface="Arial" charset="0"/>
              <a:ea typeface="Arial" charset="0"/>
              <a:cs typeface="Arial"/>
            </a:endParaRPr>
          </a:p>
        </p:txBody>
      </p:sp>
      <p:sp>
        <p:nvSpPr>
          <p:cNvPr id="43" name="Content Placeholder 5"/>
          <p:cNvSpPr txBox="1">
            <a:spLocks/>
          </p:cNvSpPr>
          <p:nvPr/>
        </p:nvSpPr>
        <p:spPr bwMode="auto">
          <a:xfrm>
            <a:off x="5743561" y="5134176"/>
            <a:ext cx="4643869" cy="607320"/>
          </a:xfrm>
          <a:prstGeom prst="rect">
            <a:avLst/>
          </a:prstGeom>
          <a:noFill/>
          <a:ln w="9525">
            <a:noFill/>
            <a:miter lim="800000"/>
            <a:headEnd/>
            <a:tailEnd/>
          </a:ln>
          <a:effectLst/>
        </p:spPr>
        <p:txBody>
          <a:bodyPr vert="horz" wrap="square" lIns="24384" tIns="0" rIns="0" bIns="0" numCol="1" anchor="t" anchorCtr="0" compatLnSpc="1">
            <a:prstTxWarp prst="textNoShape">
              <a:avLst/>
            </a:prstTxWarp>
          </a:bodyPr>
          <a:lstStyle>
            <a:lvl1pPr marL="182880" indent="-182880" algn="l" rtl="0" fontAlgn="base">
              <a:spcBef>
                <a:spcPts val="0"/>
              </a:spcBef>
              <a:spcAft>
                <a:spcPts val="800"/>
              </a:spcAft>
              <a:buClrTx/>
              <a:buSzPct val="100000"/>
              <a:buFont typeface="Arial" charset="0"/>
              <a:buChar char="•"/>
              <a:defRPr sz="1400">
                <a:solidFill>
                  <a:schemeClr val="bg2"/>
                </a:solidFill>
                <a:latin typeface="+mn-lt"/>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chemeClr val="bg1">
                    <a:lumMod val="50000"/>
                  </a:schemeClr>
                </a:solidFill>
                <a:latin typeface="+mn-lt"/>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chemeClr val="bg1">
                    <a:lumMod val="50000"/>
                  </a:schemeClr>
                </a:solidFill>
                <a:latin typeface="+mn-lt"/>
                <a:cs typeface="Arial" pitchFamily="34" charset="0"/>
              </a:defRPr>
            </a:lvl3pPr>
            <a:lvl4pPr marL="1203325" indent="-173038" algn="l" rtl="0" fontAlgn="base">
              <a:spcBef>
                <a:spcPct val="20000"/>
              </a:spcBef>
              <a:spcAft>
                <a:spcPct val="0"/>
              </a:spcAft>
              <a:buClr>
                <a:schemeClr val="bg1"/>
              </a:buClr>
              <a:defRPr sz="1600">
                <a:solidFill>
                  <a:schemeClr val="bg1">
                    <a:lumMod val="50000"/>
                  </a:schemeClr>
                </a:solidFill>
                <a:latin typeface="+mn-lt"/>
              </a:defRPr>
            </a:lvl4pPr>
            <a:lvl5pPr marL="1539875" indent="-163513" algn="l" rtl="0" fontAlgn="base">
              <a:spcBef>
                <a:spcPct val="20000"/>
              </a:spcBef>
              <a:spcAft>
                <a:spcPct val="0"/>
              </a:spcAft>
              <a:buClr>
                <a:schemeClr val="bg1"/>
              </a:buClr>
              <a:buChar char="»"/>
              <a:defRPr sz="1600">
                <a:solidFill>
                  <a:schemeClr val="bg1">
                    <a:lumMod val="50000"/>
                  </a:schemeClr>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spcBef>
                <a:spcPct val="0"/>
              </a:spcBef>
              <a:spcAft>
                <a:spcPts val="400"/>
              </a:spcAft>
              <a:buSzTx/>
              <a:buNone/>
            </a:pPr>
            <a:r>
              <a:rPr lang="en-US" sz="1600" dirty="0">
                <a:solidFill>
                  <a:schemeClr val="tx1"/>
                </a:solidFill>
                <a:latin typeface="Arial" charset="0"/>
                <a:ea typeface="Arial" charset="0"/>
                <a:cs typeface="Arial"/>
              </a:rPr>
              <a:t>With the Linux Foundation community to ensure the best possible foundation for Blockchain</a:t>
            </a:r>
          </a:p>
          <a:p>
            <a:pPr marL="0" indent="0">
              <a:spcBef>
                <a:spcPct val="0"/>
              </a:spcBef>
              <a:spcAft>
                <a:spcPts val="400"/>
              </a:spcAft>
              <a:buSzTx/>
              <a:buNone/>
            </a:pPr>
            <a:endParaRPr lang="en-US" sz="1467" dirty="0">
              <a:solidFill>
                <a:schemeClr val="tx1"/>
              </a:solidFill>
              <a:latin typeface="Arial" charset="0"/>
              <a:ea typeface="Arial" charset="0"/>
              <a:cs typeface="Arial"/>
            </a:endParaRPr>
          </a:p>
        </p:txBody>
      </p:sp>
      <p:sp>
        <p:nvSpPr>
          <p:cNvPr id="8" name="Rectangle 7"/>
          <p:cNvSpPr/>
          <p:nvPr/>
        </p:nvSpPr>
        <p:spPr>
          <a:xfrm>
            <a:off x="6730678" y="3217044"/>
            <a:ext cx="203767" cy="830997"/>
          </a:xfrm>
          <a:prstGeom prst="rect">
            <a:avLst/>
          </a:prstGeom>
        </p:spPr>
        <p:txBody>
          <a:bodyPr wrap="square" lIns="91440" tIns="45720" rIns="91440" bIns="45720">
            <a:spAutoFit/>
          </a:bodyPr>
          <a:lstStyle/>
          <a:p>
            <a:r>
              <a:rPr lang="sk-SK" sz="2400" dirty="0"/>
              <a:t>  </a:t>
            </a:r>
            <a:endParaRPr lang="en-US" sz="2400" dirty="0"/>
          </a:p>
        </p:txBody>
      </p:sp>
      <p:sp>
        <p:nvSpPr>
          <p:cNvPr id="25" name="Content Placeholder 5"/>
          <p:cNvSpPr txBox="1">
            <a:spLocks/>
          </p:cNvSpPr>
          <p:nvPr/>
        </p:nvSpPr>
        <p:spPr bwMode="auto">
          <a:xfrm>
            <a:off x="5714764" y="2618681"/>
            <a:ext cx="4624909" cy="842881"/>
          </a:xfrm>
          <a:prstGeom prst="rect">
            <a:avLst/>
          </a:prstGeom>
          <a:noFill/>
          <a:ln w="9525">
            <a:noFill/>
            <a:miter lim="800000"/>
            <a:headEnd/>
            <a:tailEnd/>
          </a:ln>
          <a:effectLst/>
        </p:spPr>
        <p:txBody>
          <a:bodyPr vert="horz" wrap="square" lIns="24384" tIns="0" rIns="0" bIns="0" numCol="1" anchor="t" anchorCtr="0" compatLnSpc="1">
            <a:prstTxWarp prst="textNoShape">
              <a:avLst/>
            </a:prstTxWarp>
          </a:bodyPr>
          <a:lstStyle>
            <a:lvl1pPr marL="182880" indent="-182880" algn="l" rtl="0" fontAlgn="base">
              <a:spcBef>
                <a:spcPts val="0"/>
              </a:spcBef>
              <a:spcAft>
                <a:spcPts val="800"/>
              </a:spcAft>
              <a:buClrTx/>
              <a:buSzPct val="100000"/>
              <a:buFont typeface="Arial" charset="0"/>
              <a:buChar char="•"/>
              <a:defRPr sz="1400">
                <a:solidFill>
                  <a:schemeClr val="bg2"/>
                </a:solidFill>
                <a:latin typeface="+mn-lt"/>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chemeClr val="bg1">
                    <a:lumMod val="50000"/>
                  </a:schemeClr>
                </a:solidFill>
                <a:latin typeface="+mn-lt"/>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chemeClr val="bg1">
                    <a:lumMod val="50000"/>
                  </a:schemeClr>
                </a:solidFill>
                <a:latin typeface="+mn-lt"/>
                <a:cs typeface="Arial" pitchFamily="34" charset="0"/>
              </a:defRPr>
            </a:lvl3pPr>
            <a:lvl4pPr marL="1203325" indent="-173038" algn="l" rtl="0" fontAlgn="base">
              <a:spcBef>
                <a:spcPct val="20000"/>
              </a:spcBef>
              <a:spcAft>
                <a:spcPct val="0"/>
              </a:spcAft>
              <a:buClr>
                <a:schemeClr val="bg1"/>
              </a:buClr>
              <a:defRPr sz="1600">
                <a:solidFill>
                  <a:schemeClr val="bg1">
                    <a:lumMod val="50000"/>
                  </a:schemeClr>
                </a:solidFill>
                <a:latin typeface="+mn-lt"/>
              </a:defRPr>
            </a:lvl4pPr>
            <a:lvl5pPr marL="1539875" indent="-163513" algn="l" rtl="0" fontAlgn="base">
              <a:spcBef>
                <a:spcPct val="20000"/>
              </a:spcBef>
              <a:spcAft>
                <a:spcPct val="0"/>
              </a:spcAft>
              <a:buClr>
                <a:schemeClr val="bg1"/>
              </a:buClr>
              <a:buChar char="»"/>
              <a:defRPr sz="1600">
                <a:solidFill>
                  <a:schemeClr val="bg1">
                    <a:lumMod val="50000"/>
                  </a:schemeClr>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spcBef>
                <a:spcPct val="0"/>
              </a:spcBef>
              <a:spcAft>
                <a:spcPts val="400"/>
              </a:spcAft>
              <a:buNone/>
            </a:pPr>
            <a:r>
              <a:rPr lang="en-US" sz="1600" dirty="0">
                <a:solidFill>
                  <a:schemeClr val="tx1"/>
                </a:solidFill>
                <a:latin typeface="Arial" charset="0"/>
                <a:ea typeface="Arial" charset="0"/>
                <a:cs typeface="Arial"/>
              </a:rPr>
              <a:t>Solutions to transform business processes and industries by creating and operating Blockchain business Networks with enterprise participants</a:t>
            </a:r>
          </a:p>
        </p:txBody>
      </p:sp>
      <p:sp>
        <p:nvSpPr>
          <p:cNvPr id="2" name="Pentagon 1"/>
          <p:cNvSpPr/>
          <p:nvPr/>
        </p:nvSpPr>
        <p:spPr bwMode="auto">
          <a:xfrm>
            <a:off x="3964926" y="3829567"/>
            <a:ext cx="1264315" cy="922794"/>
          </a:xfrm>
          <a:prstGeom prst="homePlate">
            <a:avLst>
              <a:gd name="adj" fmla="val 22704"/>
            </a:avLst>
          </a:prstGeom>
          <a:solidFill>
            <a:schemeClr val="accent1">
              <a:lumMod val="50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dirty="0">
                <a:solidFill>
                  <a:schemeClr val="bg1"/>
                </a:solidFill>
                <a:ea typeface="Avenir Book" charset="0"/>
                <a:cs typeface="Avenir Book" charset="0"/>
              </a:rPr>
              <a:t>Provide</a:t>
            </a:r>
          </a:p>
        </p:txBody>
      </p:sp>
      <p:sp>
        <p:nvSpPr>
          <p:cNvPr id="40" name="Pentagon 39"/>
          <p:cNvSpPr/>
          <p:nvPr/>
        </p:nvSpPr>
        <p:spPr bwMode="auto">
          <a:xfrm>
            <a:off x="4024459" y="5059397"/>
            <a:ext cx="1264315" cy="716097"/>
          </a:xfrm>
          <a:prstGeom prst="homePlate">
            <a:avLst>
              <a:gd name="adj" fmla="val 37727"/>
            </a:avLst>
          </a:prstGeom>
          <a:solidFill>
            <a:schemeClr val="bg1"/>
          </a:solidFill>
          <a:ln w="15875" cap="flat" cmpd="sng" algn="ctr">
            <a:solidFill>
              <a:schemeClr val="accent1"/>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spcBef>
                <a:spcPts val="800"/>
              </a:spcBef>
            </a:pPr>
            <a:r>
              <a:rPr lang="en-US" dirty="0">
                <a:solidFill>
                  <a:schemeClr val="tx1">
                    <a:lumMod val="85000"/>
                    <a:lumOff val="15000"/>
                  </a:schemeClr>
                </a:solidFill>
                <a:ea typeface="Avenir Book" charset="0"/>
                <a:cs typeface="Avenir Book" charset="0"/>
              </a:rPr>
              <a:t>Invest</a:t>
            </a:r>
          </a:p>
        </p:txBody>
      </p:sp>
      <p:sp>
        <p:nvSpPr>
          <p:cNvPr id="41" name="Pentagon 40"/>
          <p:cNvSpPr/>
          <p:nvPr/>
        </p:nvSpPr>
        <p:spPr bwMode="auto">
          <a:xfrm>
            <a:off x="4016730" y="1706437"/>
            <a:ext cx="1098430" cy="618734"/>
          </a:xfrm>
          <a:prstGeom prst="homePlate">
            <a:avLst>
              <a:gd name="adj" fmla="val 22704"/>
            </a:avLst>
          </a:prstGeom>
          <a:solidFill>
            <a:schemeClr val="accent5">
              <a:lumMod val="75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dirty="0">
                <a:solidFill>
                  <a:schemeClr val="bg1"/>
                </a:solidFill>
                <a:ea typeface="Avenir Book" charset="0"/>
                <a:cs typeface="Avenir Book" charset="0"/>
              </a:rPr>
              <a:t>Support</a:t>
            </a:r>
          </a:p>
        </p:txBody>
      </p:sp>
      <p:sp>
        <p:nvSpPr>
          <p:cNvPr id="44" name="Rectangle 43"/>
          <p:cNvSpPr/>
          <p:nvPr/>
        </p:nvSpPr>
        <p:spPr>
          <a:xfrm>
            <a:off x="1121226" y="3816655"/>
            <a:ext cx="2485428" cy="951319"/>
          </a:xfrm>
          <a:prstGeom prst="rect">
            <a:avLst/>
          </a:prstGeom>
          <a:solidFill>
            <a:schemeClr val="accent1">
              <a:lumMod val="50000"/>
            </a:schemeClr>
          </a:solidFill>
          <a:ln w="9525" cap="flat" cmpd="sng" algn="ctr">
            <a:solidFill>
              <a:srgbClr val="00B2EF">
                <a:lumMod val="50000"/>
              </a:srgbClr>
            </a:solidFill>
            <a:prstDash val="solid"/>
          </a:ln>
          <a:effectLst>
            <a:outerShdw blurRad="40000" dist="23000" dir="5400000" rotWithShape="0">
              <a:srgbClr val="000000">
                <a:alpha val="35000"/>
              </a:srgbClr>
            </a:outerShdw>
          </a:effectLst>
        </p:spPr>
        <p:txBody>
          <a:bodyPr lIns="91432" tIns="45717" rIns="91432" bIns="45717"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a:ln>
                <a:noFill/>
              </a:ln>
              <a:solidFill>
                <a:srgbClr val="FFFFFF">
                  <a:lumMod val="95000"/>
                </a:srgbClr>
              </a:solidFill>
              <a:effectLst/>
              <a:uLnTx/>
              <a:uFillTx/>
              <a:ea typeface="Avenir Book" charset="0"/>
              <a:cs typeface="Avenir Book"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lumMod val="95000"/>
                  </a:srgbClr>
                </a:solidFill>
                <a:effectLst/>
                <a:uLnTx/>
                <a:uFillTx/>
                <a:ea typeface="Avenir Book" charset="0"/>
                <a:cs typeface="Avenir Book" charset="0"/>
              </a:rPr>
              <a:t>IBM Blockcha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lumMod val="95000"/>
                  </a:srgbClr>
                </a:solidFill>
                <a:effectLst/>
                <a:uLnTx/>
                <a:uFillTx/>
                <a:ea typeface="Avenir Book" charset="0"/>
                <a:cs typeface="Avenir Book" charset="0"/>
              </a:rPr>
              <a:t>Platform</a:t>
            </a:r>
          </a:p>
        </p:txBody>
      </p:sp>
      <p:sp>
        <p:nvSpPr>
          <p:cNvPr id="46" name="Rectangle 45"/>
          <p:cNvSpPr/>
          <p:nvPr/>
        </p:nvSpPr>
        <p:spPr bwMode="auto">
          <a:xfrm>
            <a:off x="1125347" y="5007785"/>
            <a:ext cx="2493902" cy="719418"/>
          </a:xfrm>
          <a:prstGeom prst="rect">
            <a:avLst/>
          </a:prstGeom>
          <a:solidFill>
            <a:schemeClr val="bg1"/>
          </a:solidFill>
          <a:ln w="12700">
            <a:solidFill>
              <a:srgbClr val="008ABF"/>
            </a:solid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200" i="0" u="none" strike="noStrike" kern="0" cap="none" spc="0" normalizeH="0" baseline="0" noProof="0">
              <a:ln>
                <a:noFill/>
              </a:ln>
              <a:solidFill>
                <a:srgbClr val="00A6A0"/>
              </a:solidFill>
              <a:effectLst/>
              <a:uLnTx/>
              <a:uFillTx/>
              <a:ea typeface="ＭＳ Ｐゴシック" charset="0"/>
            </a:endParaRPr>
          </a:p>
        </p:txBody>
      </p:sp>
      <p:sp>
        <p:nvSpPr>
          <p:cNvPr id="48" name="Rectangle 47"/>
          <p:cNvSpPr/>
          <p:nvPr/>
        </p:nvSpPr>
        <p:spPr>
          <a:xfrm>
            <a:off x="2092924" y="5435589"/>
            <a:ext cx="754734" cy="276999"/>
          </a:xfrm>
          <a:prstGeom prst="rect">
            <a:avLst/>
          </a:prstGeom>
        </p:spPr>
        <p:txBody>
          <a:bodyPr wrap="none">
            <a:spAutoFit/>
          </a:bodyPr>
          <a:lstStyle/>
          <a:p>
            <a:pPr marL="0" marR="0" lvl="0" indent="0" algn="ctr" defTabSz="914400" eaLnBrk="1" fontAlgn="auto" latinLnBrk="0" hangingPunct="1">
              <a:lnSpc>
                <a:spcPct val="70000"/>
              </a:lnSpc>
              <a:spcBef>
                <a:spcPts val="800"/>
              </a:spcBef>
              <a:spcAft>
                <a:spcPts val="0"/>
              </a:spcAft>
              <a:buClrTx/>
              <a:buSzTx/>
              <a:buFontTx/>
              <a:buNone/>
              <a:tabLst/>
              <a:defRPr/>
            </a:pPr>
            <a:r>
              <a:rPr kumimoji="0" lang="en-US" sz="1600" i="0" u="none" strike="noStrike" kern="0" cap="none" spc="0" normalizeH="0" baseline="0" noProof="0" dirty="0">
                <a:ln>
                  <a:noFill/>
                </a:ln>
                <a:solidFill>
                  <a:srgbClr val="000000">
                    <a:lumMod val="85000"/>
                    <a:lumOff val="15000"/>
                  </a:srgbClr>
                </a:solidFill>
                <a:effectLst/>
                <a:uLnTx/>
                <a:uFillTx/>
                <a:ea typeface="Avenir Book" charset="0"/>
                <a:cs typeface="Avenir Book" charset="0"/>
              </a:rPr>
              <a:t>Fabric</a:t>
            </a:r>
          </a:p>
        </p:txBody>
      </p:sp>
      <p:grpSp>
        <p:nvGrpSpPr>
          <p:cNvPr id="53" name="Group 52"/>
          <p:cNvGrpSpPr/>
          <p:nvPr/>
        </p:nvGrpSpPr>
        <p:grpSpPr>
          <a:xfrm>
            <a:off x="1079363" y="2481826"/>
            <a:ext cx="2527289" cy="1135080"/>
            <a:chOff x="615968" y="2094927"/>
            <a:chExt cx="3309211" cy="1171178"/>
          </a:xfrm>
          <a:solidFill>
            <a:schemeClr val="accent1"/>
          </a:solidFill>
        </p:grpSpPr>
        <p:sp>
          <p:nvSpPr>
            <p:cNvPr id="57" name="Rectangle 56"/>
            <p:cNvSpPr/>
            <p:nvPr/>
          </p:nvSpPr>
          <p:spPr>
            <a:xfrm>
              <a:off x="615968" y="2094927"/>
              <a:ext cx="3309211" cy="1171178"/>
            </a:xfrm>
            <a:prstGeom prst="rect">
              <a:avLst/>
            </a:prstGeom>
            <a:grpFill/>
            <a:ln w="9525" cap="flat" cmpd="sng" algn="ctr">
              <a:noFill/>
              <a:prstDash val="solid"/>
            </a:ln>
            <a:effectLst>
              <a:outerShdw blurRad="40000" dist="23000" dir="5400000" rotWithShape="0">
                <a:srgbClr val="000000">
                  <a:alpha val="35000"/>
                </a:srgbClr>
              </a:outerShdw>
            </a:effectLst>
          </p:spPr>
          <p:txBody>
            <a:bodyPr lIns="91432" tIns="45717" rIns="91432" bIns="45717"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a:ln>
                  <a:noFill/>
                </a:ln>
                <a:solidFill>
                  <a:srgbClr val="FFFFFF"/>
                </a:solidFill>
                <a:effectLst/>
                <a:uLnTx/>
                <a:uFillTx/>
                <a:ea typeface="Avenir Book" charset="0"/>
                <a:cs typeface="Avenir Book"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a:ln>
                  <a:noFill/>
                </a:ln>
                <a:solidFill>
                  <a:srgbClr val="FFFFFF"/>
                </a:solidFill>
                <a:effectLst/>
                <a:uLnTx/>
                <a:uFillTx/>
                <a:ea typeface="Avenir Book" charset="0"/>
                <a:cs typeface="Avenir Book" charset="0"/>
              </a:endParaRPr>
            </a:p>
          </p:txBody>
        </p:sp>
        <p:sp>
          <p:nvSpPr>
            <p:cNvPr id="58" name="TextBox 57"/>
            <p:cNvSpPr txBox="1"/>
            <p:nvPr/>
          </p:nvSpPr>
          <p:spPr>
            <a:xfrm>
              <a:off x="896497" y="2175637"/>
              <a:ext cx="2720912" cy="349315"/>
            </a:xfrm>
            <a:prstGeom prst="rect">
              <a:avLst/>
            </a:prstGeom>
            <a:grpFill/>
          </p:spPr>
          <p:txBody>
            <a:bodyPr wrap="none" lIns="91432" tIns="45717" rIns="91432" bIns="45717" rtlCol="0">
              <a:spAutoFit/>
            </a:bodyPr>
            <a:lstStyle/>
            <a:p>
              <a:pPr marL="0" marR="0" lvl="0" indent="0" defTabSz="914400" eaLnBrk="1" fontAlgn="auto" latinLnBrk="0" hangingPunct="1">
                <a:lnSpc>
                  <a:spcPct val="100000"/>
                </a:lnSpc>
                <a:spcBef>
                  <a:spcPts val="60"/>
                </a:spcBef>
                <a:spcAft>
                  <a:spcPts val="0"/>
                </a:spcAft>
                <a:buClr>
                  <a:srgbClr val="000000"/>
                </a:buClr>
                <a:buSzTx/>
                <a:buFontTx/>
                <a:buNone/>
                <a:tabLst/>
                <a:defRPr/>
              </a:pPr>
              <a:r>
                <a:rPr kumimoji="0" lang="en-US" sz="1600" i="0" u="none" strike="noStrike" kern="0" cap="none" spc="0" normalizeH="0" baseline="0" noProof="0" dirty="0">
                  <a:ln>
                    <a:noFill/>
                  </a:ln>
                  <a:solidFill>
                    <a:srgbClr val="FFFFFF"/>
                  </a:solidFill>
                  <a:effectLst/>
                  <a:uLnTx/>
                  <a:uFillTx/>
                  <a:ea typeface="Avenir Book" charset="0"/>
                  <a:cs typeface="Avenir Book" charset="0"/>
                </a:rPr>
                <a:t>Blockchain Solutions</a:t>
              </a:r>
            </a:p>
          </p:txBody>
        </p:sp>
        <p:sp>
          <p:nvSpPr>
            <p:cNvPr id="59" name="Rectangle 58"/>
            <p:cNvSpPr/>
            <p:nvPr/>
          </p:nvSpPr>
          <p:spPr bwMode="auto">
            <a:xfrm>
              <a:off x="719995" y="2606284"/>
              <a:ext cx="863265" cy="412379"/>
            </a:xfrm>
            <a:prstGeom prst="rect">
              <a:avLst/>
            </a:prstGeom>
            <a:solidFill>
              <a:schemeClr val="bg1"/>
            </a:solidFill>
            <a:ln w="12700">
              <a:noFill/>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32" tIns="45717" rIns="91432" bIns="45717" numCol="1" rtlCol="0" anchor="t" anchorCtr="0" compatLnSpc="1">
              <a:prstTxWarp prst="textNoShape">
                <a:avLst/>
              </a:prstTxWarp>
            </a:bodyPr>
            <a:lstStyle/>
            <a:p>
              <a:pPr marL="0" marR="0" lvl="0" indent="0" algn="ctr" defTabSz="914326"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ea typeface="ＭＳ Ｐゴシック" charset="0"/>
                  <a:cs typeface="Avenir Book"/>
                </a:rPr>
                <a:t>Build</a:t>
              </a:r>
            </a:p>
          </p:txBody>
        </p:sp>
        <p:sp>
          <p:nvSpPr>
            <p:cNvPr id="60" name="Rectangle 59"/>
            <p:cNvSpPr/>
            <p:nvPr/>
          </p:nvSpPr>
          <p:spPr bwMode="auto">
            <a:xfrm>
              <a:off x="1698201" y="2606284"/>
              <a:ext cx="1034981" cy="409362"/>
            </a:xfrm>
            <a:prstGeom prst="rect">
              <a:avLst/>
            </a:prstGeom>
            <a:solidFill>
              <a:schemeClr val="bg1"/>
            </a:solidFill>
            <a:ln w="12700">
              <a:noFill/>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32" tIns="45717" rIns="91432" bIns="45717" numCol="1" rtlCol="0" anchor="t" anchorCtr="0" compatLnSpc="1">
              <a:prstTxWarp prst="textNoShape">
                <a:avLst/>
              </a:prstTxWarp>
            </a:bodyPr>
            <a:lstStyle/>
            <a:p>
              <a:pPr marL="0" marR="0" lvl="0" indent="0" algn="ctr" defTabSz="914326"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ea typeface="ＭＳ Ｐゴシック" charset="0"/>
                  <a:cs typeface="Avenir Book"/>
                </a:rPr>
                <a:t>Operate</a:t>
              </a:r>
            </a:p>
          </p:txBody>
        </p:sp>
        <p:sp>
          <p:nvSpPr>
            <p:cNvPr id="61" name="Rectangle 60"/>
            <p:cNvSpPr/>
            <p:nvPr/>
          </p:nvSpPr>
          <p:spPr bwMode="auto">
            <a:xfrm>
              <a:off x="2855450" y="2606284"/>
              <a:ext cx="863265" cy="412379"/>
            </a:xfrm>
            <a:prstGeom prst="rect">
              <a:avLst/>
            </a:prstGeom>
            <a:solidFill>
              <a:schemeClr val="bg1"/>
            </a:solidFill>
            <a:ln w="12700">
              <a:noFill/>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32" tIns="45717" rIns="91432" bIns="45717" numCol="1" rtlCol="0" anchor="t" anchorCtr="0" compatLnSpc="1">
              <a:prstTxWarp prst="textNoShape">
                <a:avLst/>
              </a:prstTxWarp>
            </a:bodyPr>
            <a:lstStyle/>
            <a:p>
              <a:pPr marL="0" marR="0" lvl="0" indent="0" algn="ctr" defTabSz="914326"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ea typeface="ＭＳ Ｐゴシック" charset="0"/>
                  <a:cs typeface="Avenir Book"/>
                </a:rPr>
                <a:t>Invest</a:t>
              </a:r>
            </a:p>
          </p:txBody>
        </p:sp>
      </p:grpSp>
      <p:grpSp>
        <p:nvGrpSpPr>
          <p:cNvPr id="54" name="Group 53"/>
          <p:cNvGrpSpPr/>
          <p:nvPr/>
        </p:nvGrpSpPr>
        <p:grpSpPr>
          <a:xfrm>
            <a:off x="898636" y="1394709"/>
            <a:ext cx="2985123" cy="4668224"/>
            <a:chOff x="247387" y="1517585"/>
            <a:chExt cx="4073620" cy="4816683"/>
          </a:xfrm>
        </p:grpSpPr>
        <p:sp>
          <p:nvSpPr>
            <p:cNvPr id="55" name="Rounded Rectangle 54"/>
            <p:cNvSpPr/>
            <p:nvPr/>
          </p:nvSpPr>
          <p:spPr bwMode="auto">
            <a:xfrm>
              <a:off x="247387" y="1517585"/>
              <a:ext cx="4073620" cy="4816683"/>
            </a:xfrm>
            <a:prstGeom prst="roundRect">
              <a:avLst/>
            </a:prstGeom>
            <a:noFill/>
            <a:ln w="12700">
              <a:solidFill>
                <a:srgbClr val="008ABF"/>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200" b="0" i="0" u="none" strike="noStrike" kern="0" cap="none" spc="0" normalizeH="0" baseline="0" noProof="0">
                <a:ln>
                  <a:noFill/>
                </a:ln>
                <a:solidFill>
                  <a:srgbClr val="00A6A0"/>
                </a:solidFill>
                <a:effectLst/>
                <a:uLnTx/>
                <a:uFillTx/>
                <a:latin typeface="Arial" charset="0"/>
                <a:ea typeface="ＭＳ Ｐゴシック" charset="0"/>
              </a:endParaRPr>
            </a:p>
          </p:txBody>
        </p:sp>
        <p:sp>
          <p:nvSpPr>
            <p:cNvPr id="56" name="TextBox 55"/>
            <p:cNvSpPr txBox="1"/>
            <p:nvPr/>
          </p:nvSpPr>
          <p:spPr>
            <a:xfrm>
              <a:off x="1139210" y="1666046"/>
              <a:ext cx="2251399" cy="616604"/>
            </a:xfrm>
            <a:prstGeom prst="rect">
              <a:avLst/>
            </a:prstGeom>
            <a:noFill/>
          </p:spPr>
          <p:txBody>
            <a:bodyPr wrap="none" rtlCol="0">
              <a:spAutoFit/>
            </a:bodyPr>
            <a:lstStyle/>
            <a:p>
              <a:pPr marL="0" marR="0" lvl="0" indent="0" algn="ctr" defTabSz="914400" eaLnBrk="1" fontAlgn="auto" latinLnBrk="0" hangingPunct="1">
                <a:lnSpc>
                  <a:spcPct val="100000"/>
                </a:lnSpc>
                <a:spcBef>
                  <a:spcPts val="60"/>
                </a:spcBef>
                <a:spcAft>
                  <a:spcPts val="0"/>
                </a:spcAft>
                <a:buClr>
                  <a:srgbClr val="000000"/>
                </a:buClr>
                <a:buSzTx/>
                <a:buFontTx/>
                <a:buNone/>
                <a:tabLst/>
                <a:defRPr/>
              </a:pPr>
              <a:r>
                <a:rPr kumimoji="0" lang="en-US" sz="1600" b="0" i="0" u="none" strike="noStrike" kern="0" cap="none" spc="0" normalizeH="0" baseline="0" noProof="0" dirty="0">
                  <a:ln>
                    <a:noFill/>
                  </a:ln>
                  <a:solidFill>
                    <a:srgbClr val="0070C0"/>
                  </a:solidFill>
                  <a:effectLst/>
                  <a:uLnTx/>
                  <a:uFillTx/>
                  <a:cs typeface="Avenir Book"/>
                </a:rPr>
                <a:t>IBM Blockchain </a:t>
              </a:r>
            </a:p>
            <a:p>
              <a:pPr marL="0" marR="0" lvl="0" indent="0" algn="ctr" defTabSz="914400" eaLnBrk="1" fontAlgn="auto" latinLnBrk="0" hangingPunct="1">
                <a:lnSpc>
                  <a:spcPct val="100000"/>
                </a:lnSpc>
                <a:spcBef>
                  <a:spcPts val="60"/>
                </a:spcBef>
                <a:spcAft>
                  <a:spcPts val="0"/>
                </a:spcAft>
                <a:buClr>
                  <a:srgbClr val="000000"/>
                </a:buClr>
                <a:buSzTx/>
                <a:buFontTx/>
                <a:buNone/>
                <a:tabLst/>
                <a:defRPr/>
              </a:pPr>
              <a:r>
                <a:rPr kumimoji="0" lang="en-US" sz="1600" b="0" i="0" u="none" strike="noStrike" kern="0" cap="none" spc="0" normalizeH="0" baseline="0" noProof="0" dirty="0">
                  <a:ln>
                    <a:noFill/>
                  </a:ln>
                  <a:solidFill>
                    <a:srgbClr val="0070C0"/>
                  </a:solidFill>
                  <a:effectLst/>
                  <a:uLnTx/>
                  <a:uFillTx/>
                  <a:cs typeface="Avenir Book"/>
                </a:rPr>
                <a:t>Ecosystem </a:t>
              </a:r>
            </a:p>
          </p:txBody>
        </p:sp>
      </p:grpSp>
      <p:sp>
        <p:nvSpPr>
          <p:cNvPr id="62" name="Pentagon 61"/>
          <p:cNvSpPr/>
          <p:nvPr/>
        </p:nvSpPr>
        <p:spPr bwMode="auto">
          <a:xfrm>
            <a:off x="3990528" y="2573163"/>
            <a:ext cx="1264315" cy="1055265"/>
          </a:xfrm>
          <a:prstGeom prst="homePlate">
            <a:avLst>
              <a:gd name="adj" fmla="val 22704"/>
            </a:avLst>
          </a:prstGeom>
          <a:solidFill>
            <a:schemeClr val="accent1"/>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dirty="0">
                <a:solidFill>
                  <a:schemeClr val="bg1"/>
                </a:solidFill>
                <a:ea typeface="Avenir Book" charset="0"/>
                <a:cs typeface="Avenir Book" charset="0"/>
              </a:rPr>
              <a:t>Provide</a:t>
            </a:r>
          </a:p>
        </p:txBody>
      </p:sp>
      <p:sp>
        <p:nvSpPr>
          <p:cNvPr id="63" name="Content Placeholder 5"/>
          <p:cNvSpPr txBox="1">
            <a:spLocks/>
          </p:cNvSpPr>
          <p:nvPr/>
        </p:nvSpPr>
        <p:spPr bwMode="auto">
          <a:xfrm>
            <a:off x="5715534" y="1747358"/>
            <a:ext cx="4624909" cy="584457"/>
          </a:xfrm>
          <a:prstGeom prst="rect">
            <a:avLst/>
          </a:prstGeom>
          <a:noFill/>
          <a:ln w="9525">
            <a:noFill/>
            <a:miter lim="800000"/>
            <a:headEnd/>
            <a:tailEnd/>
          </a:ln>
          <a:effectLst/>
        </p:spPr>
        <p:txBody>
          <a:bodyPr vert="horz" wrap="square" lIns="24384" tIns="0" rIns="0" bIns="0" numCol="1" anchor="t" anchorCtr="0" compatLnSpc="1">
            <a:prstTxWarp prst="textNoShape">
              <a:avLst/>
            </a:prstTxWarp>
          </a:bodyPr>
          <a:lstStyle>
            <a:lvl1pPr marL="182880" indent="-182880" algn="l" rtl="0" fontAlgn="base">
              <a:spcBef>
                <a:spcPts val="0"/>
              </a:spcBef>
              <a:spcAft>
                <a:spcPts val="800"/>
              </a:spcAft>
              <a:buClrTx/>
              <a:buSzPct val="100000"/>
              <a:buFont typeface="Arial" charset="0"/>
              <a:buChar char="•"/>
              <a:defRPr sz="1400">
                <a:solidFill>
                  <a:schemeClr val="bg2"/>
                </a:solidFill>
                <a:latin typeface="+mn-lt"/>
                <a:ea typeface="+mn-ea"/>
                <a:cs typeface="Arial" pitchFamily="34" charset="0"/>
              </a:defRPr>
            </a:lvl1pPr>
            <a:lvl2pPr marL="509588" indent="-163513" algn="l" rtl="0" fontAlgn="base">
              <a:spcBef>
                <a:spcPct val="0"/>
              </a:spcBef>
              <a:spcAft>
                <a:spcPct val="0"/>
              </a:spcAft>
              <a:buClr>
                <a:srgbClr val="6D6E70"/>
              </a:buClr>
              <a:buSzPct val="90000"/>
              <a:buFont typeface="Arial" charset="0"/>
              <a:buChar char="–"/>
              <a:defRPr sz="1600">
                <a:solidFill>
                  <a:schemeClr val="bg1">
                    <a:lumMod val="50000"/>
                  </a:schemeClr>
                </a:solidFill>
                <a:latin typeface="+mn-lt"/>
                <a:cs typeface="Arial" pitchFamily="34" charset="0"/>
              </a:defRPr>
            </a:lvl2pPr>
            <a:lvl3pPr marL="855663" indent="-173038" algn="l" rtl="0" fontAlgn="base">
              <a:spcBef>
                <a:spcPct val="0"/>
              </a:spcBef>
              <a:spcAft>
                <a:spcPct val="0"/>
              </a:spcAft>
              <a:buClr>
                <a:srgbClr val="6D6E70"/>
              </a:buClr>
              <a:buSzPct val="90000"/>
              <a:buFont typeface="Wingdings" pitchFamily="2" charset="2"/>
              <a:buChar char="§"/>
              <a:defRPr sz="1600">
                <a:solidFill>
                  <a:schemeClr val="bg1">
                    <a:lumMod val="50000"/>
                  </a:schemeClr>
                </a:solidFill>
                <a:latin typeface="+mn-lt"/>
                <a:cs typeface="Arial" pitchFamily="34" charset="0"/>
              </a:defRPr>
            </a:lvl3pPr>
            <a:lvl4pPr marL="1203325" indent="-173038" algn="l" rtl="0" fontAlgn="base">
              <a:spcBef>
                <a:spcPct val="20000"/>
              </a:spcBef>
              <a:spcAft>
                <a:spcPct val="0"/>
              </a:spcAft>
              <a:buClr>
                <a:schemeClr val="bg1"/>
              </a:buClr>
              <a:defRPr sz="1600">
                <a:solidFill>
                  <a:schemeClr val="bg1">
                    <a:lumMod val="50000"/>
                  </a:schemeClr>
                </a:solidFill>
                <a:latin typeface="+mn-lt"/>
              </a:defRPr>
            </a:lvl4pPr>
            <a:lvl5pPr marL="1539875" indent="-163513" algn="l" rtl="0" fontAlgn="base">
              <a:spcBef>
                <a:spcPct val="20000"/>
              </a:spcBef>
              <a:spcAft>
                <a:spcPct val="0"/>
              </a:spcAft>
              <a:buClr>
                <a:schemeClr val="bg1"/>
              </a:buClr>
              <a:buChar char="»"/>
              <a:defRPr sz="1600">
                <a:solidFill>
                  <a:schemeClr val="bg1">
                    <a:lumMod val="50000"/>
                  </a:schemeClr>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spcBef>
                <a:spcPct val="0"/>
              </a:spcBef>
              <a:spcAft>
                <a:spcPts val="400"/>
              </a:spcAft>
              <a:buNone/>
            </a:pPr>
            <a:r>
              <a:rPr lang="en-US" sz="1600" dirty="0">
                <a:solidFill>
                  <a:schemeClr val="tx1"/>
                </a:solidFill>
                <a:latin typeface="Arial" charset="0"/>
                <a:ea typeface="Arial" charset="0"/>
                <a:cs typeface="Arial"/>
              </a:rPr>
              <a:t>Education, support and GTM services to create a thriving ecosystem for Blockchain on Fabric</a:t>
            </a:r>
          </a:p>
        </p:txBody>
      </p:sp>
      <p:pic>
        <p:nvPicPr>
          <p:cNvPr id="26" name="Picture 25"/>
          <p:cNvPicPr>
            <a:picLocks noChangeAspect="1"/>
          </p:cNvPicPr>
          <p:nvPr/>
        </p:nvPicPr>
        <p:blipFill>
          <a:blip r:embed="rId7"/>
          <a:stretch>
            <a:fillRect/>
          </a:stretch>
        </p:blipFill>
        <p:spPr>
          <a:xfrm>
            <a:off x="1552743" y="5076457"/>
            <a:ext cx="1656878" cy="368195"/>
          </a:xfrm>
          <a:prstGeom prst="rect">
            <a:avLst/>
          </a:prstGeom>
        </p:spPr>
      </p:pic>
      <p:sp>
        <p:nvSpPr>
          <p:cNvPr id="3" name="Title 2"/>
          <p:cNvSpPr>
            <a:spLocks noGrp="1"/>
          </p:cNvSpPr>
          <p:nvPr>
            <p:ph type="title"/>
          </p:nvPr>
        </p:nvSpPr>
        <p:spPr>
          <a:xfrm>
            <a:off x="838200" y="365125"/>
            <a:ext cx="11199312" cy="1325563"/>
          </a:xfrm>
        </p:spPr>
        <p:txBody>
          <a:bodyPr/>
          <a:lstStyle/>
          <a:p>
            <a:r>
              <a:rPr lang="en-US" sz="2800" b="1" dirty="0">
                <a:solidFill>
                  <a:srgbClr val="0070C0"/>
                </a:solidFill>
                <a:latin typeface="Arial" panose="020B0604020202020204" pitchFamily="34" charset="0"/>
                <a:cs typeface="Arial" panose="020B0604020202020204" pitchFamily="34" charset="0"/>
              </a:rPr>
              <a:t>IBM Blockchain Strategy </a:t>
            </a:r>
            <a:r>
              <a:rPr lang="mr-IN" sz="2800" b="1" dirty="0">
                <a:solidFill>
                  <a:srgbClr val="0070C0"/>
                </a:solidFill>
                <a:latin typeface="Arial" panose="020B0604020202020204" pitchFamily="34" charset="0"/>
              </a:rPr>
              <a:t>–</a:t>
            </a:r>
            <a:r>
              <a:rPr lang="en-US" sz="2800" b="1" dirty="0">
                <a:solidFill>
                  <a:srgbClr val="0070C0"/>
                </a:solidFill>
                <a:latin typeface="Arial" panose="020B0604020202020204" pitchFamily="34" charset="0"/>
                <a:cs typeface="Arial" panose="020B0604020202020204" pitchFamily="34" charset="0"/>
              </a:rPr>
              <a:t> </a:t>
            </a:r>
            <a:r>
              <a:rPr lang="en-US" sz="2800" dirty="0">
                <a:solidFill>
                  <a:srgbClr val="0070C0"/>
                </a:solidFill>
                <a:latin typeface="Arial" panose="020B0604020202020204" pitchFamily="34" charset="0"/>
                <a:cs typeface="Arial" panose="020B0604020202020204" pitchFamily="34" charset="0"/>
              </a:rPr>
              <a:t>Making Blockchain Real for Business </a:t>
            </a:r>
          </a:p>
        </p:txBody>
      </p:sp>
      <p:sp>
        <p:nvSpPr>
          <p:cNvPr id="27" name="Slide Number Placeholder 4">
            <a:extLst>
              <a:ext uri="{FF2B5EF4-FFF2-40B4-BE49-F238E27FC236}">
                <a16:creationId xmlns:a16="http://schemas.microsoft.com/office/drawing/2014/main" id="{1EADB0DB-6A31-E647-B370-B130F36BD854}"/>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19</a:t>
            </a:fld>
            <a:endParaRPr lang="uk-UA" dirty="0"/>
          </a:p>
        </p:txBody>
      </p:sp>
    </p:spTree>
    <p:extLst>
      <p:ext uri="{BB962C8B-B14F-4D97-AF65-F5344CB8AC3E}">
        <p14:creationId xmlns:p14="http://schemas.microsoft.com/office/powerpoint/2010/main" val="280930982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lstStyle/>
          <a:p>
            <a:pPr marL="514350" marR="0" lvl="0" indent="-514350" defTabSz="914400" eaLnBrk="1" fontAlgn="auto" latinLnBrk="0" hangingPunct="1">
              <a:lnSpc>
                <a:spcPct val="100000"/>
              </a:lnSpc>
              <a:spcBef>
                <a:spcPts val="0"/>
              </a:spcBef>
              <a:spcAft>
                <a:spcPts val="0"/>
              </a:spcAft>
              <a:buClrTx/>
              <a:buSzTx/>
              <a:buFont typeface="+mj-lt"/>
              <a:buAutoNum type="arabicPeriod"/>
              <a:tabLst/>
              <a:defRPr/>
            </a:pPr>
            <a:r>
              <a:rPr lang="en-US" dirty="0" err="1"/>
              <a:t>Blockchain</a:t>
            </a:r>
            <a:r>
              <a:rPr lang="en-US" dirty="0"/>
              <a:t> is </a:t>
            </a:r>
            <a:r>
              <a:rPr lang="mr-IN" dirty="0"/>
              <a:t>…</a:t>
            </a:r>
            <a:endParaRPr lang="en-US" dirty="0"/>
          </a:p>
          <a:p>
            <a:pPr marL="971550" lvl="1" indent="-514350">
              <a:lnSpc>
                <a:spcPct val="100000"/>
              </a:lnSpc>
              <a:spcBef>
                <a:spcPts val="0"/>
              </a:spcBef>
              <a:buFont typeface="+mj-lt"/>
              <a:buAutoNum type="alphaLcPeriod"/>
            </a:pPr>
            <a:r>
              <a:rPr lang="en-US" dirty="0"/>
              <a:t>Cryptocurrency and Blockchain</a:t>
            </a:r>
          </a:p>
          <a:p>
            <a:pPr marL="971550" lvl="1" indent="-514350">
              <a:lnSpc>
                <a:spcPct val="100000"/>
              </a:lnSpc>
              <a:spcBef>
                <a:spcPts val="0"/>
              </a:spcBef>
              <a:buFont typeface="+mj-lt"/>
              <a:buAutoNum type="alphaLcPeriod"/>
            </a:pPr>
            <a:endParaRPr lang="en-US" dirty="0"/>
          </a:p>
          <a:p>
            <a:pPr marL="514350" indent="-514350">
              <a:lnSpc>
                <a:spcPct val="100000"/>
              </a:lnSpc>
              <a:spcBef>
                <a:spcPts val="0"/>
              </a:spcBef>
              <a:buFont typeface="+mj-lt"/>
              <a:buAutoNum type="arabicPeriod"/>
            </a:pPr>
            <a:r>
              <a:rPr lang="en-US" dirty="0"/>
              <a:t>Blockchain Use Cases</a:t>
            </a:r>
          </a:p>
          <a:p>
            <a:pPr marL="971550" lvl="1" indent="-514350">
              <a:lnSpc>
                <a:spcPct val="100000"/>
              </a:lnSpc>
              <a:spcBef>
                <a:spcPts val="0"/>
              </a:spcBef>
              <a:buFont typeface="+mj-lt"/>
              <a:buAutoNum type="alphaLcPeriod"/>
            </a:pPr>
            <a:r>
              <a:rPr lang="en-US" dirty="0"/>
              <a:t>Use Cases</a:t>
            </a:r>
          </a:p>
          <a:p>
            <a:pPr marL="971550" lvl="1" indent="-514350">
              <a:lnSpc>
                <a:spcPct val="100000"/>
              </a:lnSpc>
              <a:spcBef>
                <a:spcPts val="0"/>
              </a:spcBef>
              <a:buFont typeface="+mj-lt"/>
              <a:buAutoNum type="alphaLcPeriod"/>
            </a:pPr>
            <a:endParaRPr lang="en-US" dirty="0"/>
          </a:p>
          <a:p>
            <a:pPr marL="514350" indent="-514350">
              <a:lnSpc>
                <a:spcPct val="100000"/>
              </a:lnSpc>
              <a:spcBef>
                <a:spcPts val="0"/>
              </a:spcBef>
              <a:buFont typeface="+mj-lt"/>
              <a:buAutoNum type="arabicPeriod"/>
            </a:pPr>
            <a:r>
              <a:rPr lang="en-US" dirty="0"/>
              <a:t>An Adoption Approach</a:t>
            </a:r>
          </a:p>
        </p:txBody>
      </p:sp>
    </p:spTree>
    <p:extLst>
      <p:ext uri="{BB962C8B-B14F-4D97-AF65-F5344CB8AC3E}">
        <p14:creationId xmlns:p14="http://schemas.microsoft.com/office/powerpoint/2010/main" val="643931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2957731" y="2860676"/>
            <a:ext cx="804862" cy="1432711"/>
            <a:chOff x="1524000" y="1687679"/>
            <a:chExt cx="804862" cy="1432711"/>
          </a:xfrm>
          <a:solidFill>
            <a:schemeClr val="accent2">
              <a:lumMod val="20000"/>
              <a:lumOff val="80000"/>
            </a:schemeClr>
          </a:solidFill>
        </p:grpSpPr>
        <p:cxnSp>
          <p:nvCxnSpPr>
            <p:cNvPr id="30" name="Straight Connector 29"/>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528762" y="1687679"/>
              <a:ext cx="800100" cy="369332"/>
            </a:xfrm>
            <a:prstGeom prst="rect">
              <a:avLst/>
            </a:prstGeom>
            <a:grpFill/>
          </p:spPr>
          <p:txBody>
            <a:bodyPr wrap="square" rtlCol="0">
              <a:spAutoFit/>
            </a:bodyPr>
            <a:lstStyle/>
            <a:p>
              <a:r>
                <a:rPr lang="en-US" sz="900"/>
                <a:t>Partner Decision</a:t>
              </a:r>
              <a:endParaRPr lang="en-US" sz="800" dirty="0"/>
            </a:p>
          </p:txBody>
        </p:sp>
      </p:grpSp>
      <p:grpSp>
        <p:nvGrpSpPr>
          <p:cNvPr id="58" name="Group 57"/>
          <p:cNvGrpSpPr/>
          <p:nvPr/>
        </p:nvGrpSpPr>
        <p:grpSpPr>
          <a:xfrm>
            <a:off x="4548754" y="2860676"/>
            <a:ext cx="804862" cy="1432711"/>
            <a:chOff x="1524000" y="1687679"/>
            <a:chExt cx="804862" cy="1432711"/>
          </a:xfrm>
          <a:solidFill>
            <a:schemeClr val="accent2">
              <a:lumMod val="20000"/>
              <a:lumOff val="80000"/>
            </a:schemeClr>
          </a:solidFill>
        </p:grpSpPr>
        <p:cxnSp>
          <p:nvCxnSpPr>
            <p:cNvPr id="59" name="Straight Connector 58"/>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528762" y="1687679"/>
              <a:ext cx="800100" cy="369332"/>
            </a:xfrm>
            <a:prstGeom prst="rect">
              <a:avLst/>
            </a:prstGeom>
            <a:grpFill/>
          </p:spPr>
          <p:txBody>
            <a:bodyPr wrap="square" rtlCol="0">
              <a:spAutoFit/>
            </a:bodyPr>
            <a:lstStyle/>
            <a:p>
              <a:r>
                <a:rPr lang="en-US" sz="900" dirty="0" err="1"/>
                <a:t>Mgmt</a:t>
              </a:r>
              <a:r>
                <a:rPr lang="en-US" sz="900" dirty="0"/>
                <a:t> </a:t>
              </a:r>
            </a:p>
            <a:p>
              <a:r>
                <a:rPr lang="en-US" sz="900" dirty="0"/>
                <a:t>sign-Off, </a:t>
              </a:r>
              <a:endParaRPr lang="en-US" sz="800" dirty="0"/>
            </a:p>
          </p:txBody>
        </p:sp>
      </p:grpSp>
      <p:grpSp>
        <p:nvGrpSpPr>
          <p:cNvPr id="46" name="Group 45"/>
          <p:cNvGrpSpPr/>
          <p:nvPr/>
        </p:nvGrpSpPr>
        <p:grpSpPr>
          <a:xfrm>
            <a:off x="5537622" y="3507560"/>
            <a:ext cx="3209655" cy="1953344"/>
            <a:chOff x="1523999" y="1181334"/>
            <a:chExt cx="3209655" cy="1953344"/>
          </a:xfrm>
          <a:solidFill>
            <a:schemeClr val="accent5">
              <a:lumMod val="90000"/>
            </a:schemeClr>
          </a:solidFill>
        </p:grpSpPr>
        <p:cxnSp>
          <p:nvCxnSpPr>
            <p:cNvPr id="47" name="Straight Connector 46"/>
            <p:cNvCxnSpPr/>
            <p:nvPr/>
          </p:nvCxnSpPr>
          <p:spPr>
            <a:xfrm>
              <a:off x="1524000" y="1181334"/>
              <a:ext cx="0" cy="193905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48" name="TextBox 47"/>
            <p:cNvSpPr txBox="1"/>
            <p:nvPr/>
          </p:nvSpPr>
          <p:spPr>
            <a:xfrm>
              <a:off x="1523999" y="2765346"/>
              <a:ext cx="3209655" cy="369332"/>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Solution Build, Integration analysis, Infrastructure analysis, Change Management</a:t>
              </a:r>
              <a:endParaRPr lang="en-US" sz="800" dirty="0"/>
            </a:p>
          </p:txBody>
        </p:sp>
      </p:grpSp>
      <p:grpSp>
        <p:nvGrpSpPr>
          <p:cNvPr id="49" name="Group 48"/>
          <p:cNvGrpSpPr/>
          <p:nvPr/>
        </p:nvGrpSpPr>
        <p:grpSpPr>
          <a:xfrm>
            <a:off x="5538788" y="2857500"/>
            <a:ext cx="3122765" cy="1432711"/>
            <a:chOff x="1514473" y="1687679"/>
            <a:chExt cx="3122765" cy="1432711"/>
          </a:xfrm>
          <a:solidFill>
            <a:schemeClr val="accent2">
              <a:lumMod val="20000"/>
              <a:lumOff val="80000"/>
            </a:schemeClr>
          </a:solidFill>
        </p:grpSpPr>
        <p:cxnSp>
          <p:nvCxnSpPr>
            <p:cNvPr id="50" name="Straight Connector 49"/>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514473" y="1687679"/>
              <a:ext cx="3122765" cy="369332"/>
            </a:xfrm>
            <a:prstGeom prst="rect">
              <a:avLst/>
            </a:prstGeom>
            <a:grpFill/>
          </p:spPr>
          <p:txBody>
            <a:bodyPr wrap="square" rtlCol="0">
              <a:spAutoFit/>
            </a:bodyPr>
            <a:lstStyle/>
            <a:p>
              <a:r>
                <a:rPr lang="en-US" sz="900" dirty="0"/>
                <a:t>Requirements planning, Use Case Testing, Change Management</a:t>
              </a:r>
              <a:endParaRPr lang="en-US" sz="800" dirty="0"/>
            </a:p>
          </p:txBody>
        </p:sp>
      </p:grpSp>
      <p:grpSp>
        <p:nvGrpSpPr>
          <p:cNvPr id="42" name="Group 41"/>
          <p:cNvGrpSpPr/>
          <p:nvPr/>
        </p:nvGrpSpPr>
        <p:grpSpPr>
          <a:xfrm>
            <a:off x="8756803" y="3767946"/>
            <a:ext cx="1796895" cy="1953344"/>
            <a:chOff x="1523999" y="1181334"/>
            <a:chExt cx="1796895" cy="1953344"/>
          </a:xfrm>
          <a:solidFill>
            <a:schemeClr val="accent5">
              <a:lumMod val="90000"/>
            </a:schemeClr>
          </a:solidFill>
        </p:grpSpPr>
        <p:cxnSp>
          <p:nvCxnSpPr>
            <p:cNvPr id="43" name="Straight Connector 42"/>
            <p:cNvCxnSpPr/>
            <p:nvPr/>
          </p:nvCxnSpPr>
          <p:spPr>
            <a:xfrm>
              <a:off x="1524000" y="1181334"/>
              <a:ext cx="0" cy="193905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44" name="TextBox 43"/>
            <p:cNvSpPr txBox="1"/>
            <p:nvPr/>
          </p:nvSpPr>
          <p:spPr>
            <a:xfrm>
              <a:off x="1523999" y="2765346"/>
              <a:ext cx="1796895" cy="369332"/>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Solution Updates, Parallel Testing</a:t>
              </a:r>
              <a:endParaRPr lang="en-US" sz="800" dirty="0"/>
            </a:p>
          </p:txBody>
        </p:sp>
      </p:grpSp>
      <p:grpSp>
        <p:nvGrpSpPr>
          <p:cNvPr id="15" name="Group 14"/>
          <p:cNvGrpSpPr/>
          <p:nvPr/>
        </p:nvGrpSpPr>
        <p:grpSpPr>
          <a:xfrm>
            <a:off x="1524000" y="2483825"/>
            <a:ext cx="804862" cy="1432711"/>
            <a:chOff x="1524000" y="1687679"/>
            <a:chExt cx="804862" cy="1432711"/>
          </a:xfrm>
          <a:solidFill>
            <a:schemeClr val="accent2">
              <a:lumMod val="20000"/>
              <a:lumOff val="80000"/>
            </a:schemeClr>
          </a:solidFill>
        </p:grpSpPr>
        <p:cxnSp>
          <p:nvCxnSpPr>
            <p:cNvPr id="14" name="Straight Connector 13"/>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528762" y="1687679"/>
              <a:ext cx="800100" cy="369332"/>
            </a:xfrm>
            <a:prstGeom prst="rect">
              <a:avLst/>
            </a:prstGeom>
            <a:grpFill/>
          </p:spPr>
          <p:txBody>
            <a:bodyPr wrap="square" rtlCol="0">
              <a:spAutoFit/>
            </a:bodyPr>
            <a:lstStyle/>
            <a:p>
              <a:r>
                <a:rPr lang="en-US" sz="900"/>
                <a:t>Stakeholder Definition</a:t>
              </a:r>
              <a:endParaRPr lang="en-US" sz="800"/>
            </a:p>
          </p:txBody>
        </p:sp>
      </p:grpSp>
      <p:grpSp>
        <p:nvGrpSpPr>
          <p:cNvPr id="16" name="Group 15"/>
          <p:cNvGrpSpPr/>
          <p:nvPr/>
        </p:nvGrpSpPr>
        <p:grpSpPr>
          <a:xfrm>
            <a:off x="1881187" y="2922923"/>
            <a:ext cx="804862" cy="1432711"/>
            <a:chOff x="1524000" y="1687679"/>
            <a:chExt cx="804862" cy="1432711"/>
          </a:xfrm>
          <a:solidFill>
            <a:schemeClr val="accent2">
              <a:lumMod val="20000"/>
              <a:lumOff val="80000"/>
            </a:schemeClr>
          </a:solidFill>
        </p:grpSpPr>
        <p:cxnSp>
          <p:nvCxnSpPr>
            <p:cNvPr id="17" name="Straight Connector 16"/>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528762" y="1687679"/>
              <a:ext cx="800100" cy="369332"/>
            </a:xfrm>
            <a:prstGeom prst="rect">
              <a:avLst/>
            </a:prstGeom>
            <a:grpFill/>
          </p:spPr>
          <p:txBody>
            <a:bodyPr wrap="square" rtlCol="0">
              <a:spAutoFit/>
            </a:bodyPr>
            <a:lstStyle/>
            <a:p>
              <a:r>
                <a:rPr lang="en-US" sz="900" dirty="0"/>
                <a:t>Partner Discussions</a:t>
              </a:r>
              <a:endParaRPr lang="en-US" sz="800" dirty="0"/>
            </a:p>
          </p:txBody>
        </p:sp>
      </p:grpSp>
      <p:grpSp>
        <p:nvGrpSpPr>
          <p:cNvPr id="20" name="Group 19"/>
          <p:cNvGrpSpPr/>
          <p:nvPr/>
        </p:nvGrpSpPr>
        <p:grpSpPr>
          <a:xfrm>
            <a:off x="4136626" y="2458378"/>
            <a:ext cx="804862" cy="1432711"/>
            <a:chOff x="1524000" y="1687679"/>
            <a:chExt cx="804862" cy="1432711"/>
          </a:xfrm>
          <a:solidFill>
            <a:schemeClr val="accent2">
              <a:lumMod val="20000"/>
              <a:lumOff val="80000"/>
            </a:schemeClr>
          </a:solidFill>
        </p:grpSpPr>
        <p:cxnSp>
          <p:nvCxnSpPr>
            <p:cNvPr id="21" name="Straight Connector 20"/>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528762" y="1687679"/>
              <a:ext cx="800100" cy="369332"/>
            </a:xfrm>
            <a:prstGeom prst="rect">
              <a:avLst/>
            </a:prstGeom>
            <a:grpFill/>
          </p:spPr>
          <p:txBody>
            <a:bodyPr wrap="square" rtlCol="0">
              <a:spAutoFit/>
            </a:bodyPr>
            <a:lstStyle/>
            <a:p>
              <a:r>
                <a:rPr lang="en-US" sz="900" dirty="0"/>
                <a:t>Project Charter</a:t>
              </a:r>
            </a:p>
          </p:txBody>
        </p:sp>
      </p:grpSp>
      <p:grpSp>
        <p:nvGrpSpPr>
          <p:cNvPr id="23" name="Group 22"/>
          <p:cNvGrpSpPr/>
          <p:nvPr/>
        </p:nvGrpSpPr>
        <p:grpSpPr>
          <a:xfrm>
            <a:off x="1981200" y="4118321"/>
            <a:ext cx="800100" cy="1397414"/>
            <a:chOff x="1524000" y="1737264"/>
            <a:chExt cx="800100" cy="1397414"/>
          </a:xfrm>
          <a:solidFill>
            <a:schemeClr val="accent5">
              <a:lumMod val="90000"/>
            </a:schemeClr>
          </a:solidFill>
        </p:grpSpPr>
        <p:cxnSp>
          <p:nvCxnSpPr>
            <p:cNvPr id="24" name="Straight Connector 23"/>
            <p:cNvCxnSpPr/>
            <p:nvPr/>
          </p:nvCxnSpPr>
          <p:spPr>
            <a:xfrm>
              <a:off x="1524000" y="1737264"/>
              <a:ext cx="0" cy="138312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25" name="TextBox 24"/>
            <p:cNvSpPr txBox="1"/>
            <p:nvPr/>
          </p:nvSpPr>
          <p:spPr>
            <a:xfrm>
              <a:off x="1524000" y="2765346"/>
              <a:ext cx="800100" cy="369332"/>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Solution Discussions</a:t>
              </a:r>
              <a:endParaRPr lang="en-US" sz="800" dirty="0"/>
            </a:p>
          </p:txBody>
        </p:sp>
      </p:grpSp>
      <p:grpSp>
        <p:nvGrpSpPr>
          <p:cNvPr id="26" name="Group 25"/>
          <p:cNvGrpSpPr/>
          <p:nvPr/>
        </p:nvGrpSpPr>
        <p:grpSpPr>
          <a:xfrm>
            <a:off x="3033709" y="4293387"/>
            <a:ext cx="800100" cy="1535913"/>
            <a:chOff x="1524000" y="1737264"/>
            <a:chExt cx="800100" cy="1535913"/>
          </a:xfrm>
          <a:solidFill>
            <a:schemeClr val="accent5">
              <a:lumMod val="90000"/>
            </a:schemeClr>
          </a:solidFill>
        </p:grpSpPr>
        <p:cxnSp>
          <p:nvCxnSpPr>
            <p:cNvPr id="27" name="Straight Connector 26"/>
            <p:cNvCxnSpPr/>
            <p:nvPr/>
          </p:nvCxnSpPr>
          <p:spPr>
            <a:xfrm>
              <a:off x="1524000" y="1737264"/>
              <a:ext cx="0" cy="138312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28" name="TextBox 27"/>
            <p:cNvSpPr txBox="1"/>
            <p:nvPr/>
          </p:nvSpPr>
          <p:spPr>
            <a:xfrm>
              <a:off x="1524000" y="2765346"/>
              <a:ext cx="800100" cy="507831"/>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Business Process analysis</a:t>
              </a:r>
              <a:endParaRPr lang="en-US" sz="800" dirty="0"/>
            </a:p>
          </p:txBody>
        </p:sp>
      </p:grpSp>
      <p:grpSp>
        <p:nvGrpSpPr>
          <p:cNvPr id="32" name="Group 31"/>
          <p:cNvGrpSpPr/>
          <p:nvPr/>
        </p:nvGrpSpPr>
        <p:grpSpPr>
          <a:xfrm>
            <a:off x="3139361" y="3286066"/>
            <a:ext cx="800100" cy="928836"/>
            <a:chOff x="1514474" y="1687679"/>
            <a:chExt cx="800100" cy="928836"/>
          </a:xfrm>
          <a:solidFill>
            <a:schemeClr val="accent2">
              <a:lumMod val="20000"/>
              <a:lumOff val="80000"/>
            </a:schemeClr>
          </a:solidFill>
        </p:grpSpPr>
        <p:cxnSp>
          <p:nvCxnSpPr>
            <p:cNvPr id="33" name="Straight Connector 32"/>
            <p:cNvCxnSpPr/>
            <p:nvPr/>
          </p:nvCxnSpPr>
          <p:spPr>
            <a:xfrm>
              <a:off x="1524000" y="1737264"/>
              <a:ext cx="4762" cy="879251"/>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514474" y="1687679"/>
              <a:ext cx="800100" cy="369332"/>
            </a:xfrm>
            <a:prstGeom prst="rect">
              <a:avLst/>
            </a:prstGeom>
            <a:grpFill/>
          </p:spPr>
          <p:txBody>
            <a:bodyPr wrap="square" rtlCol="0">
              <a:spAutoFit/>
            </a:bodyPr>
            <a:lstStyle/>
            <a:p>
              <a:r>
                <a:rPr lang="en-US" sz="900" dirty="0"/>
                <a:t>Resource Planning</a:t>
              </a:r>
              <a:endParaRPr lang="en-US" sz="800" dirty="0"/>
            </a:p>
          </p:txBody>
        </p:sp>
      </p:grpSp>
      <p:grpSp>
        <p:nvGrpSpPr>
          <p:cNvPr id="36" name="Group 35"/>
          <p:cNvGrpSpPr/>
          <p:nvPr/>
        </p:nvGrpSpPr>
        <p:grpSpPr>
          <a:xfrm>
            <a:off x="4543992" y="4114529"/>
            <a:ext cx="800100" cy="1397414"/>
            <a:chOff x="1524000" y="1737264"/>
            <a:chExt cx="800100" cy="1397414"/>
          </a:xfrm>
          <a:solidFill>
            <a:schemeClr val="accent5">
              <a:lumMod val="90000"/>
            </a:schemeClr>
          </a:solidFill>
        </p:grpSpPr>
        <p:cxnSp>
          <p:nvCxnSpPr>
            <p:cNvPr id="37" name="Straight Connector 36"/>
            <p:cNvCxnSpPr/>
            <p:nvPr/>
          </p:nvCxnSpPr>
          <p:spPr>
            <a:xfrm>
              <a:off x="1524000" y="1737264"/>
              <a:ext cx="0" cy="138312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38" name="TextBox 37"/>
            <p:cNvSpPr txBox="1"/>
            <p:nvPr/>
          </p:nvSpPr>
          <p:spPr>
            <a:xfrm>
              <a:off x="1524000" y="2765346"/>
              <a:ext cx="800100" cy="369332"/>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Process requirement</a:t>
              </a:r>
              <a:endParaRPr lang="en-US" sz="800" dirty="0"/>
            </a:p>
          </p:txBody>
        </p:sp>
      </p:grpSp>
      <p:grpSp>
        <p:nvGrpSpPr>
          <p:cNvPr id="39" name="Group 38"/>
          <p:cNvGrpSpPr/>
          <p:nvPr/>
        </p:nvGrpSpPr>
        <p:grpSpPr>
          <a:xfrm>
            <a:off x="8799658" y="2659399"/>
            <a:ext cx="1754041" cy="1432711"/>
            <a:chOff x="1514473" y="1687679"/>
            <a:chExt cx="1754041" cy="1432711"/>
          </a:xfrm>
          <a:solidFill>
            <a:schemeClr val="accent2">
              <a:lumMod val="20000"/>
              <a:lumOff val="80000"/>
            </a:schemeClr>
          </a:solidFill>
        </p:grpSpPr>
        <p:cxnSp>
          <p:nvCxnSpPr>
            <p:cNvPr id="40" name="Straight Connector 39"/>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514473" y="1687679"/>
              <a:ext cx="1754041" cy="230832"/>
            </a:xfrm>
            <a:prstGeom prst="rect">
              <a:avLst/>
            </a:prstGeom>
            <a:grpFill/>
          </p:spPr>
          <p:txBody>
            <a:bodyPr wrap="square" rtlCol="0">
              <a:spAutoFit/>
            </a:bodyPr>
            <a:lstStyle/>
            <a:p>
              <a:r>
                <a:rPr lang="en-US" sz="900" dirty="0"/>
                <a:t>UAT Testing</a:t>
              </a:r>
              <a:endParaRPr lang="en-US" sz="800" dirty="0"/>
            </a:p>
          </p:txBody>
        </p:sp>
      </p:grpSp>
      <p:grpSp>
        <p:nvGrpSpPr>
          <p:cNvPr id="52" name="Group 51"/>
          <p:cNvGrpSpPr/>
          <p:nvPr/>
        </p:nvGrpSpPr>
        <p:grpSpPr>
          <a:xfrm>
            <a:off x="10945932" y="4125672"/>
            <a:ext cx="800100" cy="1397414"/>
            <a:chOff x="1524000" y="1737264"/>
            <a:chExt cx="800100" cy="1397414"/>
          </a:xfrm>
          <a:solidFill>
            <a:schemeClr val="accent5">
              <a:lumMod val="90000"/>
            </a:schemeClr>
          </a:solidFill>
        </p:grpSpPr>
        <p:cxnSp>
          <p:nvCxnSpPr>
            <p:cNvPr id="53" name="Straight Connector 52"/>
            <p:cNvCxnSpPr/>
            <p:nvPr/>
          </p:nvCxnSpPr>
          <p:spPr>
            <a:xfrm>
              <a:off x="1524000" y="1737264"/>
              <a:ext cx="0" cy="1383126"/>
            </a:xfrm>
            <a:prstGeom prst="line">
              <a:avLst/>
            </a:prstGeom>
            <a:grpFill/>
            <a:ln/>
          </p:spPr>
          <p:style>
            <a:lnRef idx="1">
              <a:schemeClr val="accent5"/>
            </a:lnRef>
            <a:fillRef idx="2">
              <a:schemeClr val="accent5"/>
            </a:fillRef>
            <a:effectRef idx="1">
              <a:schemeClr val="accent5"/>
            </a:effectRef>
            <a:fontRef idx="minor">
              <a:schemeClr val="dk1"/>
            </a:fontRef>
          </p:style>
        </p:cxnSp>
        <p:sp>
          <p:nvSpPr>
            <p:cNvPr id="54" name="TextBox 53"/>
            <p:cNvSpPr txBox="1"/>
            <p:nvPr/>
          </p:nvSpPr>
          <p:spPr>
            <a:xfrm>
              <a:off x="1524000" y="2765346"/>
              <a:ext cx="800100" cy="369332"/>
            </a:xfrm>
            <a:prstGeom prst="rect">
              <a:avLst/>
            </a:prstGeom>
            <a:grpFill/>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900" dirty="0"/>
                <a:t>Partner Sign-off</a:t>
              </a:r>
              <a:endParaRPr lang="en-US" sz="800" dirty="0"/>
            </a:p>
          </p:txBody>
        </p:sp>
      </p:grpSp>
      <p:grpSp>
        <p:nvGrpSpPr>
          <p:cNvPr id="55" name="Group 54"/>
          <p:cNvGrpSpPr/>
          <p:nvPr/>
        </p:nvGrpSpPr>
        <p:grpSpPr>
          <a:xfrm>
            <a:off x="10869954" y="2692961"/>
            <a:ext cx="876078" cy="1432711"/>
            <a:chOff x="1524000" y="1687679"/>
            <a:chExt cx="876078" cy="1432711"/>
          </a:xfrm>
          <a:solidFill>
            <a:schemeClr val="accent2">
              <a:lumMod val="20000"/>
              <a:lumOff val="80000"/>
            </a:schemeClr>
          </a:solidFill>
        </p:grpSpPr>
        <p:cxnSp>
          <p:nvCxnSpPr>
            <p:cNvPr id="56" name="Straight Connector 55"/>
            <p:cNvCxnSpPr/>
            <p:nvPr/>
          </p:nvCxnSpPr>
          <p:spPr>
            <a:xfrm>
              <a:off x="1524000" y="1737264"/>
              <a:ext cx="0" cy="1383126"/>
            </a:xfrm>
            <a:prstGeom prst="line">
              <a:avLst/>
            </a:prstGeom>
            <a:grpFill/>
            <a:ln>
              <a:solidFill>
                <a:srgbClr val="FF0000"/>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528762" y="1687679"/>
              <a:ext cx="871316" cy="369332"/>
            </a:xfrm>
            <a:prstGeom prst="rect">
              <a:avLst/>
            </a:prstGeom>
            <a:grpFill/>
          </p:spPr>
          <p:txBody>
            <a:bodyPr wrap="square" rtlCol="0">
              <a:spAutoFit/>
            </a:bodyPr>
            <a:lstStyle/>
            <a:p>
              <a:r>
                <a:rPr lang="en-US" sz="900" dirty="0" err="1"/>
                <a:t>Mgmt</a:t>
              </a:r>
              <a:r>
                <a:rPr lang="en-US" sz="900" dirty="0"/>
                <a:t> sign-Off, Training</a:t>
              </a:r>
              <a:endParaRPr lang="en-US" sz="800" dirty="0"/>
            </a:p>
          </p:txBody>
        </p:sp>
      </p:grpSp>
      <p:graphicFrame>
        <p:nvGraphicFramePr>
          <p:cNvPr id="7" name="Table 6"/>
          <p:cNvGraphicFramePr>
            <a:graphicFrameLocks noGrp="1"/>
          </p:cNvGraphicFramePr>
          <p:nvPr>
            <p:extLst/>
          </p:nvPr>
        </p:nvGraphicFramePr>
        <p:xfrm>
          <a:off x="1519237" y="3963068"/>
          <a:ext cx="10226794" cy="370840"/>
        </p:xfrm>
        <a:graphic>
          <a:graphicData uri="http://schemas.openxmlformats.org/drawingml/2006/table">
            <a:tbl>
              <a:tblPr firstRow="1" bandRow="1">
                <a:tableStyleId>{5C22544A-7EE6-4342-B048-85BDC9FD1C3A}</a:tableStyleId>
              </a:tblPr>
              <a:tblGrid>
                <a:gridCol w="1541463">
                  <a:extLst>
                    <a:ext uri="{9D8B030D-6E8A-4147-A177-3AD203B41FA5}">
                      <a16:colId xmlns:a16="http://schemas.microsoft.com/office/drawing/2014/main" val="20000"/>
                    </a:ext>
                  </a:extLst>
                </a:gridCol>
                <a:gridCol w="1549400">
                  <a:extLst>
                    <a:ext uri="{9D8B030D-6E8A-4147-A177-3AD203B41FA5}">
                      <a16:colId xmlns:a16="http://schemas.microsoft.com/office/drawing/2014/main" val="20001"/>
                    </a:ext>
                  </a:extLst>
                </a:gridCol>
                <a:gridCol w="4343400">
                  <a:extLst>
                    <a:ext uri="{9D8B030D-6E8A-4147-A177-3AD203B41FA5}">
                      <a16:colId xmlns:a16="http://schemas.microsoft.com/office/drawing/2014/main" val="20002"/>
                    </a:ext>
                  </a:extLst>
                </a:gridCol>
                <a:gridCol w="1769852">
                  <a:extLst>
                    <a:ext uri="{9D8B030D-6E8A-4147-A177-3AD203B41FA5}">
                      <a16:colId xmlns:a16="http://schemas.microsoft.com/office/drawing/2014/main" val="20003"/>
                    </a:ext>
                  </a:extLst>
                </a:gridCol>
                <a:gridCol w="1022679">
                  <a:extLst>
                    <a:ext uri="{9D8B030D-6E8A-4147-A177-3AD203B41FA5}">
                      <a16:colId xmlns:a16="http://schemas.microsoft.com/office/drawing/2014/main" val="20004"/>
                    </a:ext>
                  </a:extLst>
                </a:gridCol>
              </a:tblGrid>
              <a:tr h="370840">
                <a:tc>
                  <a:txBody>
                    <a:bodyPr/>
                    <a:lstStyle/>
                    <a:p>
                      <a:endParaRPr lang="en-US" dirty="0"/>
                    </a:p>
                  </a:txBody>
                  <a:tcPr>
                    <a:solidFill>
                      <a:srgbClr val="2375BD"/>
                    </a:solidFill>
                  </a:tcPr>
                </a:tc>
                <a:tc>
                  <a:txBody>
                    <a:bodyPr/>
                    <a:lstStyle/>
                    <a:p>
                      <a:endParaRPr lang="en-US" dirty="0"/>
                    </a:p>
                  </a:txBody>
                  <a:tcPr>
                    <a:solidFill>
                      <a:srgbClr val="2375BD"/>
                    </a:solidFill>
                  </a:tcPr>
                </a:tc>
                <a:tc>
                  <a:txBody>
                    <a:bodyPr/>
                    <a:lstStyle/>
                    <a:p>
                      <a:endParaRPr lang="en-US" dirty="0"/>
                    </a:p>
                  </a:txBody>
                  <a:tcPr>
                    <a:solidFill>
                      <a:srgbClr val="2375BD"/>
                    </a:solidFill>
                  </a:tcPr>
                </a:tc>
                <a:tc>
                  <a:txBody>
                    <a:bodyPr/>
                    <a:lstStyle/>
                    <a:p>
                      <a:endParaRPr lang="en-US" dirty="0"/>
                    </a:p>
                  </a:txBody>
                  <a:tcPr>
                    <a:solidFill>
                      <a:srgbClr val="2375BD"/>
                    </a:solidFill>
                  </a:tcPr>
                </a:tc>
                <a:tc>
                  <a:txBody>
                    <a:bodyPr/>
                    <a:lstStyle/>
                    <a:p>
                      <a:endParaRPr lang="en-US" dirty="0"/>
                    </a:p>
                  </a:txBody>
                  <a:tcPr>
                    <a:solidFill>
                      <a:srgbClr val="2375BD"/>
                    </a:solidFill>
                  </a:tcPr>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nvPr>
        </p:nvGraphicFramePr>
        <p:xfrm>
          <a:off x="1519236" y="3718416"/>
          <a:ext cx="10226795" cy="370840"/>
        </p:xfrm>
        <a:graphic>
          <a:graphicData uri="http://schemas.openxmlformats.org/drawingml/2006/table">
            <a:tbl>
              <a:tblPr firstRow="1" bandRow="1">
                <a:tableStyleId>{5C22544A-7EE6-4342-B048-85BDC9FD1C3A}</a:tableStyleId>
              </a:tblPr>
              <a:tblGrid>
                <a:gridCol w="1538949">
                  <a:extLst>
                    <a:ext uri="{9D8B030D-6E8A-4147-A177-3AD203B41FA5}">
                      <a16:colId xmlns:a16="http://schemas.microsoft.com/office/drawing/2014/main" val="20000"/>
                    </a:ext>
                  </a:extLst>
                </a:gridCol>
                <a:gridCol w="1547006">
                  <a:extLst>
                    <a:ext uri="{9D8B030D-6E8A-4147-A177-3AD203B41FA5}">
                      <a16:colId xmlns:a16="http://schemas.microsoft.com/office/drawing/2014/main" val="20001"/>
                    </a:ext>
                  </a:extLst>
                </a:gridCol>
                <a:gridCol w="4344508">
                  <a:extLst>
                    <a:ext uri="{9D8B030D-6E8A-4147-A177-3AD203B41FA5}">
                      <a16:colId xmlns:a16="http://schemas.microsoft.com/office/drawing/2014/main" val="20002"/>
                    </a:ext>
                  </a:extLst>
                </a:gridCol>
                <a:gridCol w="1773652">
                  <a:extLst>
                    <a:ext uri="{9D8B030D-6E8A-4147-A177-3AD203B41FA5}">
                      <a16:colId xmlns:a16="http://schemas.microsoft.com/office/drawing/2014/main" val="20003"/>
                    </a:ext>
                  </a:extLst>
                </a:gridCol>
                <a:gridCol w="1022680">
                  <a:extLst>
                    <a:ext uri="{9D8B030D-6E8A-4147-A177-3AD203B41FA5}">
                      <a16:colId xmlns:a16="http://schemas.microsoft.com/office/drawing/2014/main" val="20004"/>
                    </a:ext>
                  </a:extLst>
                </a:gridCol>
              </a:tblGrid>
              <a:tr h="370840">
                <a:tc>
                  <a:txBody>
                    <a:bodyPr/>
                    <a:lstStyle/>
                    <a:p>
                      <a:pPr algn="ctr"/>
                      <a:r>
                        <a:rPr lang="en-US" sz="1400" dirty="0"/>
                        <a:t>1</a:t>
                      </a:r>
                      <a:r>
                        <a:rPr lang="en-US" sz="1400" baseline="0" dirty="0"/>
                        <a:t> Week</a:t>
                      </a:r>
                      <a:endParaRPr lang="en-US" sz="1400" dirty="0"/>
                    </a:p>
                  </a:txBody>
                  <a:tcPr anchor="ctr">
                    <a:solidFill>
                      <a:srgbClr val="00B050"/>
                    </a:solidFill>
                  </a:tcPr>
                </a:tc>
                <a:tc>
                  <a:txBody>
                    <a:bodyPr/>
                    <a:lstStyle/>
                    <a:p>
                      <a:pPr algn="ctr"/>
                      <a:r>
                        <a:rPr lang="en-US" sz="1400" dirty="0"/>
                        <a:t>1 Week</a:t>
                      </a:r>
                    </a:p>
                  </a:txBody>
                  <a:tcPr anchor="ctr">
                    <a:solidFill>
                      <a:srgbClr val="00B050"/>
                    </a:solidFill>
                  </a:tcPr>
                </a:tc>
                <a:tc>
                  <a:txBody>
                    <a:bodyPr/>
                    <a:lstStyle/>
                    <a:p>
                      <a:pPr algn="ctr"/>
                      <a:r>
                        <a:rPr lang="en-US" sz="1400" dirty="0"/>
                        <a:t>4</a:t>
                      </a:r>
                      <a:r>
                        <a:rPr lang="en-US" sz="1400" baseline="0" dirty="0"/>
                        <a:t> </a:t>
                      </a:r>
                      <a:r>
                        <a:rPr lang="mr-IN" sz="1400" baseline="0" dirty="0"/>
                        <a:t>–</a:t>
                      </a:r>
                      <a:r>
                        <a:rPr lang="en-US" sz="1400" baseline="0" dirty="0"/>
                        <a:t> 12 weeks </a:t>
                      </a:r>
                      <a:r>
                        <a:rPr lang="en-US" sz="1200" b="0" i="1" baseline="0" dirty="0"/>
                        <a:t>(Based on project scope)</a:t>
                      </a:r>
                      <a:endParaRPr lang="en-US" sz="1400" b="0" i="1" dirty="0"/>
                    </a:p>
                  </a:txBody>
                  <a:tcPr anchor="ctr">
                    <a:solidFill>
                      <a:srgbClr val="00B050"/>
                    </a:solidFill>
                  </a:tcPr>
                </a:tc>
                <a:tc>
                  <a:txBody>
                    <a:bodyPr/>
                    <a:lstStyle/>
                    <a:p>
                      <a:pPr algn="ctr"/>
                      <a:r>
                        <a:rPr lang="en-US" sz="1400" dirty="0"/>
                        <a:t>2-6 weeks</a:t>
                      </a:r>
                    </a:p>
                  </a:txBody>
                  <a:tcPr anchor="ctr">
                    <a:solidFill>
                      <a:srgbClr val="00B050"/>
                    </a:solidFill>
                  </a:tcPr>
                </a:tc>
                <a:tc>
                  <a:txBody>
                    <a:bodyPr/>
                    <a:lstStyle/>
                    <a:p>
                      <a:pPr algn="ctr"/>
                      <a:r>
                        <a:rPr lang="en-US" sz="1400" dirty="0"/>
                        <a:t>2 weeks</a:t>
                      </a:r>
                    </a:p>
                  </a:txBody>
                  <a:tcPr anchor="ctr">
                    <a:solidFill>
                      <a:srgbClr val="00B050"/>
                    </a:solidFill>
                  </a:tcPr>
                </a:tc>
                <a:extLst>
                  <a:ext uri="{0D108BD9-81ED-4DB2-BD59-A6C34878D82A}">
                    <a16:rowId xmlns:a16="http://schemas.microsoft.com/office/drawing/2014/main" val="10000"/>
                  </a:ext>
                </a:extLst>
              </a:tr>
            </a:tbl>
          </a:graphicData>
        </a:graphic>
      </p:graphicFrame>
      <p:sp>
        <p:nvSpPr>
          <p:cNvPr id="63" name="TextBox 62"/>
          <p:cNvSpPr txBox="1"/>
          <p:nvPr/>
        </p:nvSpPr>
        <p:spPr>
          <a:xfrm>
            <a:off x="1519237" y="1904081"/>
            <a:ext cx="864000" cy="307777"/>
          </a:xfrm>
          <a:prstGeom prst="rect">
            <a:avLst/>
          </a:prstGeom>
          <a:solidFill>
            <a:schemeClr val="bg1"/>
          </a:solidFill>
        </p:spPr>
        <p:txBody>
          <a:bodyPr wrap="square" rtlCol="0">
            <a:spAutoFit/>
          </a:bodyPr>
          <a:lstStyle/>
          <a:p>
            <a:pPr algn="ctr"/>
            <a:r>
              <a:rPr lang="en-US" sz="1400"/>
              <a:t>Phase 0</a:t>
            </a:r>
          </a:p>
        </p:txBody>
      </p:sp>
      <p:sp>
        <p:nvSpPr>
          <p:cNvPr id="66" name="TextBox 65"/>
          <p:cNvSpPr txBox="1"/>
          <p:nvPr/>
        </p:nvSpPr>
        <p:spPr>
          <a:xfrm>
            <a:off x="2946000" y="1899166"/>
            <a:ext cx="864000" cy="307777"/>
          </a:xfrm>
          <a:prstGeom prst="rect">
            <a:avLst/>
          </a:prstGeom>
          <a:solidFill>
            <a:schemeClr val="bg1"/>
          </a:solidFill>
        </p:spPr>
        <p:txBody>
          <a:bodyPr wrap="square" rtlCol="0">
            <a:spAutoFit/>
          </a:bodyPr>
          <a:lstStyle/>
          <a:p>
            <a:pPr algn="ctr"/>
            <a:r>
              <a:rPr lang="en-US" sz="1400" dirty="0"/>
              <a:t>Phase 1</a:t>
            </a:r>
          </a:p>
        </p:txBody>
      </p:sp>
      <p:cxnSp>
        <p:nvCxnSpPr>
          <p:cNvPr id="62" name="Straight Arrow Connector 61"/>
          <p:cNvCxnSpPr/>
          <p:nvPr/>
        </p:nvCxnSpPr>
        <p:spPr>
          <a:xfrm flipV="1">
            <a:off x="2293624" y="2053446"/>
            <a:ext cx="720000" cy="0"/>
          </a:xfrm>
          <a:prstGeom prst="straightConnector1">
            <a:avLst/>
          </a:prstGeom>
          <a:ln w="38100">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3754837" y="2048531"/>
            <a:ext cx="855263" cy="0"/>
          </a:xfrm>
          <a:prstGeom prst="straightConnector1">
            <a:avLst/>
          </a:prstGeom>
          <a:ln w="38100">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610100" y="1894642"/>
            <a:ext cx="864000" cy="307777"/>
          </a:xfrm>
          <a:prstGeom prst="rect">
            <a:avLst/>
          </a:prstGeom>
          <a:solidFill>
            <a:schemeClr val="bg1"/>
          </a:solidFill>
        </p:spPr>
        <p:txBody>
          <a:bodyPr wrap="square" rtlCol="0">
            <a:spAutoFit/>
          </a:bodyPr>
          <a:lstStyle/>
          <a:p>
            <a:pPr algn="ctr"/>
            <a:r>
              <a:rPr lang="en-US" sz="1400" dirty="0"/>
              <a:t>Phase 2</a:t>
            </a:r>
          </a:p>
        </p:txBody>
      </p:sp>
      <p:cxnSp>
        <p:nvCxnSpPr>
          <p:cNvPr id="69" name="Straight Arrow Connector 68"/>
          <p:cNvCxnSpPr/>
          <p:nvPr/>
        </p:nvCxnSpPr>
        <p:spPr>
          <a:xfrm flipV="1">
            <a:off x="5418936" y="2044007"/>
            <a:ext cx="3204000" cy="0"/>
          </a:xfrm>
          <a:prstGeom prst="straightConnector1">
            <a:avLst/>
          </a:prstGeom>
          <a:ln w="38100">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8619810" y="1860286"/>
            <a:ext cx="864000" cy="307777"/>
          </a:xfrm>
          <a:prstGeom prst="rect">
            <a:avLst/>
          </a:prstGeom>
          <a:solidFill>
            <a:schemeClr val="bg1"/>
          </a:solidFill>
        </p:spPr>
        <p:txBody>
          <a:bodyPr wrap="square" rtlCol="0">
            <a:spAutoFit/>
          </a:bodyPr>
          <a:lstStyle/>
          <a:p>
            <a:pPr algn="ctr"/>
            <a:r>
              <a:rPr lang="en-US" sz="1400" dirty="0"/>
              <a:t>Phase 3</a:t>
            </a:r>
          </a:p>
        </p:txBody>
      </p:sp>
      <p:cxnSp>
        <p:nvCxnSpPr>
          <p:cNvPr id="71" name="Straight Arrow Connector 70"/>
          <p:cNvCxnSpPr/>
          <p:nvPr/>
        </p:nvCxnSpPr>
        <p:spPr>
          <a:xfrm flipV="1">
            <a:off x="9428646" y="2009651"/>
            <a:ext cx="1152000" cy="0"/>
          </a:xfrm>
          <a:prstGeom prst="straightConnector1">
            <a:avLst/>
          </a:prstGeom>
          <a:ln w="38100">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0575845" y="1841901"/>
            <a:ext cx="864000" cy="307777"/>
          </a:xfrm>
          <a:prstGeom prst="rect">
            <a:avLst/>
          </a:prstGeom>
          <a:solidFill>
            <a:schemeClr val="bg1"/>
          </a:solidFill>
        </p:spPr>
        <p:txBody>
          <a:bodyPr wrap="square" rtlCol="0">
            <a:spAutoFit/>
          </a:bodyPr>
          <a:lstStyle/>
          <a:p>
            <a:pPr algn="ctr"/>
            <a:r>
              <a:rPr lang="en-US" sz="1400" dirty="0"/>
              <a:t>Phase 4</a:t>
            </a:r>
          </a:p>
        </p:txBody>
      </p:sp>
      <p:cxnSp>
        <p:nvCxnSpPr>
          <p:cNvPr id="75" name="Straight Connector 74"/>
          <p:cNvCxnSpPr/>
          <p:nvPr/>
        </p:nvCxnSpPr>
        <p:spPr>
          <a:xfrm rot="10800000">
            <a:off x="11359412" y="1995790"/>
            <a:ext cx="451588" cy="0"/>
          </a:xfrm>
          <a:prstGeom prst="line">
            <a:avLst/>
          </a:prstGeom>
          <a:ln w="38100">
            <a:solidFill>
              <a:schemeClr val="bg1">
                <a:lumMod val="8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26" name="Picture 2" descr="mage result for ibm india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408" y="4518565"/>
            <a:ext cx="1305514" cy="62493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38100" y="4101921"/>
            <a:ext cx="11700000" cy="0"/>
          </a:xfrm>
          <a:prstGeom prst="line">
            <a:avLst/>
          </a:prstGeom>
          <a:ln>
            <a:solidFill>
              <a:schemeClr val="accent5">
                <a:lumMod val="25000"/>
              </a:schemeClr>
            </a:solidFill>
          </a:ln>
        </p:spPr>
        <p:style>
          <a:lnRef idx="2">
            <a:schemeClr val="accent4"/>
          </a:lnRef>
          <a:fillRef idx="0">
            <a:schemeClr val="accent4"/>
          </a:fillRef>
          <a:effectRef idx="1">
            <a:schemeClr val="accent4"/>
          </a:effectRef>
          <a:fontRef idx="minor">
            <a:schemeClr val="tx1"/>
          </a:fontRef>
        </p:style>
      </p:cxnSp>
      <p:sp>
        <p:nvSpPr>
          <p:cNvPr id="5" name="Rectangle 4"/>
          <p:cNvSpPr/>
          <p:nvPr/>
        </p:nvSpPr>
        <p:spPr>
          <a:xfrm>
            <a:off x="353484" y="5958505"/>
            <a:ext cx="11457515" cy="615553"/>
          </a:xfrm>
          <a:prstGeom prst="rect">
            <a:avLst/>
          </a:prstGeom>
        </p:spPr>
        <p:txBody>
          <a:bodyPr wrap="square">
            <a:spAutoFit/>
          </a:bodyPr>
          <a:lstStyle/>
          <a:p>
            <a:pPr marL="12700" indent="-12700"/>
            <a:r>
              <a:rPr lang="en-US" b="1" dirty="0">
                <a:solidFill>
                  <a:srgbClr val="FF0000"/>
                </a:solidFill>
              </a:rPr>
              <a:t>PLEASE NOTE: </a:t>
            </a:r>
            <a:r>
              <a:rPr lang="en-US" sz="1600" dirty="0">
                <a:solidFill>
                  <a:schemeClr val="tx1">
                    <a:lumMod val="65000"/>
                    <a:lumOff val="35000"/>
                  </a:schemeClr>
                </a:solidFill>
              </a:rPr>
              <a:t>Timelines denoted above are indicative and based on our experiences at your peers. Accurate roadmaps will be created only after scope is confirmed with client</a:t>
            </a:r>
          </a:p>
        </p:txBody>
      </p:sp>
      <p:sp>
        <p:nvSpPr>
          <p:cNvPr id="6" name="TextBox 5"/>
          <p:cNvSpPr txBox="1"/>
          <p:nvPr/>
        </p:nvSpPr>
        <p:spPr>
          <a:xfrm>
            <a:off x="-79819" y="3171970"/>
            <a:ext cx="1674742" cy="646331"/>
          </a:xfrm>
          <a:prstGeom prst="rect">
            <a:avLst/>
          </a:prstGeom>
          <a:noFill/>
        </p:spPr>
        <p:txBody>
          <a:bodyPr wrap="square" rtlCol="0">
            <a:spAutoFit/>
          </a:bodyPr>
          <a:lstStyle/>
          <a:p>
            <a:pPr algn="ctr"/>
            <a:r>
              <a:rPr lang="en-US" b="1">
                <a:solidFill>
                  <a:srgbClr val="00B050"/>
                </a:solidFill>
              </a:rPr>
              <a:t>Your Organization</a:t>
            </a:r>
          </a:p>
        </p:txBody>
      </p:sp>
      <p:sp>
        <p:nvSpPr>
          <p:cNvPr id="3" name="Title 2"/>
          <p:cNvSpPr>
            <a:spLocks noGrp="1"/>
          </p:cNvSpPr>
          <p:nvPr>
            <p:ph type="title"/>
          </p:nvPr>
        </p:nvSpPr>
        <p:spPr>
          <a:xfrm>
            <a:off x="488515" y="365126"/>
            <a:ext cx="11322483" cy="752824"/>
          </a:xfrm>
        </p:spPr>
        <p:txBody>
          <a:bodyPr>
            <a:normAutofit fontScale="90000"/>
          </a:bodyPr>
          <a:lstStyle/>
          <a:p>
            <a:r>
              <a:rPr lang="en-US" sz="2800" b="1" dirty="0">
                <a:solidFill>
                  <a:srgbClr val="0070C0"/>
                </a:solidFill>
                <a:latin typeface="Arial" panose="020B0604020202020204" pitchFamily="34" charset="0"/>
                <a:cs typeface="Arial" panose="020B0604020202020204" pitchFamily="34" charset="0"/>
              </a:rPr>
              <a:t>High Level Roadmap </a:t>
            </a:r>
            <a:r>
              <a:rPr lang="en-US" sz="2800" dirty="0">
                <a:solidFill>
                  <a:srgbClr val="0070C0"/>
                </a:solidFill>
                <a:latin typeface="Arial" panose="020B0604020202020204" pitchFamily="34" charset="0"/>
                <a:cs typeface="Arial" panose="020B0604020202020204" pitchFamily="34" charset="0"/>
              </a:rPr>
              <a:t>– Success of the Pilot will depend on immediate mobilization of resources from all stakeholders within IBM and Clients</a:t>
            </a:r>
          </a:p>
        </p:txBody>
      </p:sp>
      <p:sp>
        <p:nvSpPr>
          <p:cNvPr id="64" name="Slide Number Placeholder 4">
            <a:extLst>
              <a:ext uri="{FF2B5EF4-FFF2-40B4-BE49-F238E27FC236}">
                <a16:creationId xmlns:a16="http://schemas.microsoft.com/office/drawing/2014/main" id="{E32D7784-97BC-184E-95D0-D63382F3537C}"/>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20</a:t>
            </a:fld>
            <a:endParaRPr lang="uk-UA" dirty="0"/>
          </a:p>
        </p:txBody>
      </p:sp>
    </p:spTree>
    <p:extLst>
      <p:ext uri="{BB962C8B-B14F-4D97-AF65-F5344CB8AC3E}">
        <p14:creationId xmlns:p14="http://schemas.microsoft.com/office/powerpoint/2010/main" val="1869228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a:xfrm>
            <a:off x="353485" y="1658112"/>
            <a:ext cx="11533716" cy="4756756"/>
          </a:xfrm>
        </p:spPr>
        <p:txBody>
          <a:bodyPr anchor="b"/>
          <a:lstStyle/>
          <a:p>
            <a:pPr marL="0" indent="0">
              <a:buNone/>
            </a:pPr>
            <a:r>
              <a:rPr lang="en-US" sz="1600" b="1" dirty="0">
                <a:solidFill>
                  <a:srgbClr val="FF0000"/>
                </a:solidFill>
                <a:latin typeface="+mn-lt"/>
              </a:rPr>
              <a:t>PLEASE NOTE: </a:t>
            </a:r>
            <a:r>
              <a:rPr lang="en-US" sz="1600" b="0" dirty="0">
                <a:solidFill>
                  <a:schemeClr val="tx1">
                    <a:lumMod val="65000"/>
                    <a:lumOff val="35000"/>
                  </a:schemeClr>
                </a:solidFill>
                <a:latin typeface="+mn-lt"/>
              </a:rPr>
              <a:t>All cost components mentioned in the table below are indicative. Actual components will be determined after detailed scoping and process decomposition discussions with clients</a:t>
            </a:r>
          </a:p>
        </p:txBody>
      </p:sp>
      <p:graphicFrame>
        <p:nvGraphicFramePr>
          <p:cNvPr id="8" name="Table 7"/>
          <p:cNvGraphicFramePr>
            <a:graphicFrameLocks noGrp="1"/>
          </p:cNvGraphicFramePr>
          <p:nvPr>
            <p:extLst>
              <p:ext uri="{D42A27DB-BD31-4B8C-83A1-F6EECF244321}">
                <p14:modId xmlns:p14="http://schemas.microsoft.com/office/powerpoint/2010/main" val="2451302102"/>
              </p:ext>
            </p:extLst>
          </p:nvPr>
        </p:nvGraphicFramePr>
        <p:xfrm>
          <a:off x="353483" y="1052186"/>
          <a:ext cx="11319404" cy="4769033"/>
        </p:xfrm>
        <a:graphic>
          <a:graphicData uri="http://schemas.openxmlformats.org/drawingml/2006/table">
            <a:tbl>
              <a:tblPr firstRow="1" bandRow="1">
                <a:tableStyleId>{FABFCF23-3B69-468F-B69F-88F6DE6A72F2}</a:tableStyleId>
              </a:tblPr>
              <a:tblGrid>
                <a:gridCol w="424281">
                  <a:extLst>
                    <a:ext uri="{9D8B030D-6E8A-4147-A177-3AD203B41FA5}">
                      <a16:colId xmlns:a16="http://schemas.microsoft.com/office/drawing/2014/main" val="20000"/>
                    </a:ext>
                  </a:extLst>
                </a:gridCol>
                <a:gridCol w="3975448">
                  <a:extLst>
                    <a:ext uri="{9D8B030D-6E8A-4147-A177-3AD203B41FA5}">
                      <a16:colId xmlns:a16="http://schemas.microsoft.com/office/drawing/2014/main" val="20001"/>
                    </a:ext>
                  </a:extLst>
                </a:gridCol>
                <a:gridCol w="4476512">
                  <a:extLst>
                    <a:ext uri="{9D8B030D-6E8A-4147-A177-3AD203B41FA5}">
                      <a16:colId xmlns:a16="http://schemas.microsoft.com/office/drawing/2014/main" val="20002"/>
                    </a:ext>
                  </a:extLst>
                </a:gridCol>
                <a:gridCol w="2443163">
                  <a:extLst>
                    <a:ext uri="{9D8B030D-6E8A-4147-A177-3AD203B41FA5}">
                      <a16:colId xmlns:a16="http://schemas.microsoft.com/office/drawing/2014/main" val="20003"/>
                    </a:ext>
                  </a:extLst>
                </a:gridCol>
              </a:tblGrid>
              <a:tr h="507259">
                <a:tc>
                  <a:txBody>
                    <a:bodyPr/>
                    <a:lstStyle/>
                    <a:p>
                      <a:pPr algn="ctr"/>
                      <a:r>
                        <a:rPr lang="en-US" sz="1600" dirty="0">
                          <a:solidFill>
                            <a:schemeClr val="bg1">
                              <a:lumMod val="95000"/>
                            </a:schemeClr>
                          </a:solidFill>
                        </a:rPr>
                        <a:t>#</a:t>
                      </a:r>
                    </a:p>
                  </a:txBody>
                  <a:tcPr anchor="ctr">
                    <a:lnR w="9525" cap="flat" cmpd="sng" algn="ctr">
                      <a:solidFill>
                        <a:schemeClr val="bg1">
                          <a:lumMod val="75000"/>
                        </a:schemeClr>
                      </a:solidFill>
                      <a:prstDash val="sysDot"/>
                      <a:round/>
                      <a:headEnd type="none" w="med" len="med"/>
                      <a:tailEnd type="none" w="med" len="med"/>
                    </a:lnR>
                    <a:lnB w="9525" cap="flat" cmpd="sng" algn="ctr">
                      <a:solidFill>
                        <a:schemeClr val="bg1">
                          <a:lumMod val="75000"/>
                        </a:schemeClr>
                      </a:solidFill>
                      <a:prstDash val="sysDot"/>
                      <a:round/>
                      <a:headEnd type="none" w="med" len="med"/>
                      <a:tailEnd type="none" w="med" len="med"/>
                    </a:lnB>
                    <a:solidFill>
                      <a:schemeClr val="bg1">
                        <a:lumMod val="50000"/>
                      </a:schemeClr>
                    </a:solidFill>
                  </a:tcPr>
                </a:tc>
                <a:tc>
                  <a:txBody>
                    <a:bodyPr/>
                    <a:lstStyle/>
                    <a:p>
                      <a:pPr algn="ctr"/>
                      <a:r>
                        <a:rPr lang="en-US" sz="1600" dirty="0">
                          <a:solidFill>
                            <a:schemeClr val="bg1">
                              <a:lumMod val="95000"/>
                            </a:schemeClr>
                          </a:solidFill>
                        </a:rPr>
                        <a:t>Cost Component</a:t>
                      </a: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B w="9525" cap="flat" cmpd="sng" algn="ctr">
                      <a:solidFill>
                        <a:schemeClr val="bg1">
                          <a:lumMod val="75000"/>
                        </a:schemeClr>
                      </a:solidFill>
                      <a:prstDash val="sysDot"/>
                      <a:round/>
                      <a:headEnd type="none" w="med" len="med"/>
                      <a:tailEnd type="none" w="med" len="med"/>
                    </a:lnB>
                    <a:solidFill>
                      <a:schemeClr val="bg1">
                        <a:lumMod val="50000"/>
                      </a:schemeClr>
                    </a:solidFill>
                  </a:tcPr>
                </a:tc>
                <a:tc>
                  <a:txBody>
                    <a:bodyPr/>
                    <a:lstStyle/>
                    <a:p>
                      <a:pPr algn="ctr"/>
                      <a:r>
                        <a:rPr lang="en-US" sz="1600" dirty="0">
                          <a:solidFill>
                            <a:schemeClr val="bg1">
                              <a:lumMod val="95000"/>
                            </a:schemeClr>
                          </a:solidFill>
                        </a:rPr>
                        <a:t>Description</a:t>
                      </a: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B w="9525" cap="flat" cmpd="sng" algn="ctr">
                      <a:solidFill>
                        <a:schemeClr val="bg1">
                          <a:lumMod val="75000"/>
                        </a:schemeClr>
                      </a:solidFill>
                      <a:prstDash val="sysDot"/>
                      <a:round/>
                      <a:headEnd type="none" w="med" len="med"/>
                      <a:tailEnd type="none" w="med" len="med"/>
                    </a:lnB>
                    <a:solidFill>
                      <a:schemeClr val="bg1">
                        <a:lumMod val="50000"/>
                      </a:schemeClr>
                    </a:solidFill>
                  </a:tcPr>
                </a:tc>
                <a:tc>
                  <a:txBody>
                    <a:bodyPr/>
                    <a:lstStyle/>
                    <a:p>
                      <a:pPr algn="ctr"/>
                      <a:r>
                        <a:rPr lang="en-US" sz="1600" dirty="0">
                          <a:solidFill>
                            <a:schemeClr val="bg1">
                              <a:lumMod val="95000"/>
                            </a:schemeClr>
                          </a:solidFill>
                        </a:rPr>
                        <a:t>Dependencies</a:t>
                      </a:r>
                    </a:p>
                  </a:txBody>
                  <a:tcPr anchor="ctr">
                    <a:lnL w="9525" cap="flat" cmpd="sng" algn="ctr">
                      <a:solidFill>
                        <a:schemeClr val="bg1">
                          <a:lumMod val="75000"/>
                        </a:schemeClr>
                      </a:solidFill>
                      <a:prstDash val="sysDot"/>
                      <a:round/>
                      <a:headEnd type="none" w="med" len="med"/>
                      <a:tailEnd type="none" w="med" len="med"/>
                    </a:lnL>
                    <a:lnB w="9525" cap="flat" cmpd="sng" algn="ctr">
                      <a:solidFill>
                        <a:schemeClr val="bg1">
                          <a:lumMod val="75000"/>
                        </a:schemeClr>
                      </a:solidFill>
                      <a:prstDash val="sysDot"/>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21130">
                <a:tc>
                  <a:txBody>
                    <a:bodyPr/>
                    <a:lstStyle/>
                    <a:p>
                      <a:pPr algn="ctr"/>
                      <a:r>
                        <a:rPr lang="en-US" sz="1400" dirty="0"/>
                        <a:t>1)</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algn="l" fontAlgn="b"/>
                      <a:r>
                        <a:rPr lang="en-US" sz="1400" b="1" u="none" strike="noStrike" dirty="0" err="1">
                          <a:effectLst/>
                        </a:rPr>
                        <a:t>Blockchain</a:t>
                      </a:r>
                      <a:r>
                        <a:rPr lang="en-US" sz="1400" b="1" u="none" strike="noStrike" dirty="0">
                          <a:effectLst/>
                        </a:rPr>
                        <a:t> Development Cost (Services) </a:t>
                      </a:r>
                      <a:endParaRPr lang="en-US" sz="1400" b="1" i="0"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rowSpan="3">
                  <a:txBody>
                    <a:bodyPr/>
                    <a:lstStyle/>
                    <a:p>
                      <a:pPr marL="171450" indent="-171450" algn="l">
                        <a:buFont typeface="Helvetica" charset="0"/>
                        <a:buChar char="-"/>
                      </a:pPr>
                      <a:r>
                        <a:rPr lang="en-US" sz="1400" i="0" dirty="0">
                          <a:solidFill>
                            <a:schemeClr val="tx1">
                              <a:lumMod val="75000"/>
                              <a:lumOff val="25000"/>
                            </a:schemeClr>
                          </a:solidFill>
                        </a:rPr>
                        <a:t>Consulting services for developing</a:t>
                      </a:r>
                      <a:r>
                        <a:rPr lang="en-US" sz="1400" i="0" baseline="0" dirty="0">
                          <a:solidFill>
                            <a:schemeClr val="tx1">
                              <a:lumMod val="75000"/>
                              <a:lumOff val="25000"/>
                            </a:schemeClr>
                          </a:solidFill>
                        </a:rPr>
                        <a:t> the chain code for the business logic agreed with the bank (</a:t>
                      </a:r>
                      <a:r>
                        <a:rPr lang="en-US" sz="1400" i="1" baseline="0" dirty="0">
                          <a:solidFill>
                            <a:schemeClr val="tx1">
                              <a:lumMod val="75000"/>
                              <a:lumOff val="25000"/>
                            </a:schemeClr>
                          </a:solidFill>
                        </a:rPr>
                        <a:t>e.g. Smart contracts)</a:t>
                      </a:r>
                    </a:p>
                    <a:p>
                      <a:pPr marL="171450" indent="-171450" algn="l">
                        <a:buFont typeface="Helvetica" charset="0"/>
                        <a:buChar char="-"/>
                      </a:pPr>
                      <a:r>
                        <a:rPr lang="en-US" sz="1400" i="0" baseline="0" dirty="0">
                          <a:solidFill>
                            <a:schemeClr val="tx1">
                              <a:lumMod val="75000"/>
                              <a:lumOff val="25000"/>
                            </a:schemeClr>
                          </a:solidFill>
                        </a:rPr>
                        <a:t>Liaison with business to draft functional and technical requirem</a:t>
                      </a:r>
                      <a:r>
                        <a:rPr lang="en-US" sz="1400" b="0" i="0" dirty="0">
                          <a:solidFill>
                            <a:schemeClr val="tx1">
                              <a:lumMod val="75000"/>
                              <a:lumOff val="25000"/>
                            </a:schemeClr>
                          </a:solidFill>
                        </a:rPr>
                        <a:t>ents</a:t>
                      </a:r>
                    </a:p>
                    <a:p>
                      <a:pPr marL="171450" indent="-171450" algn="l">
                        <a:buFont typeface="Helvetica" charset="0"/>
                        <a:buChar char="-"/>
                      </a:pPr>
                      <a:r>
                        <a:rPr lang="en-US" sz="1400" b="0" i="0" dirty="0">
                          <a:solidFill>
                            <a:schemeClr val="tx1">
                              <a:lumMod val="75000"/>
                              <a:lumOff val="25000"/>
                            </a:schemeClr>
                          </a:solidFill>
                        </a:rPr>
                        <a:t> Overall engagement management for client and IBM</a:t>
                      </a: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rowSpan="3">
                  <a:txBody>
                    <a:bodyPr/>
                    <a:lstStyle/>
                    <a:p>
                      <a:pPr algn="l"/>
                      <a:r>
                        <a:rPr lang="en-US" sz="1400" dirty="0">
                          <a:solidFill>
                            <a:schemeClr val="tx1">
                              <a:lumMod val="75000"/>
                              <a:lumOff val="25000"/>
                            </a:schemeClr>
                          </a:solidFill>
                        </a:rPr>
                        <a:t>Business </a:t>
                      </a:r>
                      <a:r>
                        <a:rPr lang="en-US" sz="1400" baseline="0" dirty="0">
                          <a:solidFill>
                            <a:schemeClr val="tx1">
                              <a:lumMod val="75000"/>
                              <a:lumOff val="25000"/>
                            </a:schemeClr>
                          </a:solidFill>
                        </a:rPr>
                        <a:t>functionalities selected as part of the development phase </a:t>
                      </a:r>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499538">
                <a:tc>
                  <a:txBody>
                    <a:bodyPr/>
                    <a:lstStyle/>
                    <a:p>
                      <a:pPr algn="ctr"/>
                      <a:endParaRPr lang="en-US" sz="1400" dirty="0"/>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171450" indent="-171450" algn="l" defTabSz="1219170" rtl="0" eaLnBrk="1" fontAlgn="b" latinLnBrk="0" hangingPunct="1">
                        <a:buFont typeface="Courier New" charset="0"/>
                        <a:buChar char="o"/>
                      </a:pPr>
                      <a:r>
                        <a:rPr lang="en-US" sz="1200" b="0" i="1" u="none" strike="noStrike" kern="1200" dirty="0">
                          <a:solidFill>
                            <a:schemeClr val="dk1"/>
                          </a:solidFill>
                          <a:effectLst/>
                          <a:latin typeface="+mn-lt"/>
                          <a:ea typeface="+mn-ea"/>
                          <a:cs typeface="+mn-cs"/>
                        </a:rPr>
                        <a:t>Developer Team: Chain Code, Java, UI and UX Architects,</a:t>
                      </a:r>
                      <a:r>
                        <a:rPr lang="en-US" sz="1200" b="0" i="1" u="none" strike="noStrike" kern="1200" baseline="0" dirty="0">
                          <a:solidFill>
                            <a:schemeClr val="dk1"/>
                          </a:solidFill>
                          <a:effectLst/>
                          <a:latin typeface="+mn-lt"/>
                          <a:ea typeface="+mn-ea"/>
                          <a:cs typeface="+mn-cs"/>
                        </a:rPr>
                        <a:t> </a:t>
                      </a:r>
                      <a:r>
                        <a:rPr lang="en-US" sz="1200" b="0" i="1" u="none" strike="noStrike" kern="1200" dirty="0">
                          <a:solidFill>
                            <a:schemeClr val="dk1"/>
                          </a:solidFill>
                          <a:effectLst/>
                          <a:latin typeface="+mn-lt"/>
                          <a:ea typeface="+mn-ea"/>
                          <a:cs typeface="+mn-cs"/>
                        </a:rPr>
                        <a:t>Application architects, Solution Architects, etc.,</a:t>
                      </a: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vMerge="1">
                  <a:txBody>
                    <a:bodyPr/>
                    <a:lstStyle/>
                    <a:p>
                      <a:pPr algn="l"/>
                      <a:endParaRPr lang="en-US" sz="1200" b="0" i="1"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vMerge="1">
                  <a:txBody>
                    <a:bodyPr/>
                    <a:lstStyle/>
                    <a:p>
                      <a:pPr algn="l"/>
                      <a:endParaRPr lang="en-US" sz="12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2"/>
                  </a:ext>
                </a:extLst>
              </a:tr>
              <a:tr h="454105">
                <a:tc>
                  <a:txBody>
                    <a:bodyPr/>
                    <a:lstStyle/>
                    <a:p>
                      <a:pPr algn="ctr"/>
                      <a:endParaRPr lang="en-US" sz="1400" dirty="0"/>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171450" indent="-171450" algn="l" defTabSz="1219170" rtl="0" eaLnBrk="1" fontAlgn="b" latinLnBrk="0" hangingPunct="1">
                        <a:buFont typeface="Courier New" charset="0"/>
                        <a:buChar char="o"/>
                      </a:pPr>
                      <a:r>
                        <a:rPr lang="en-US" sz="1200" b="0" i="1" u="none" strike="noStrike" kern="1200" dirty="0">
                          <a:solidFill>
                            <a:schemeClr val="dk1"/>
                          </a:solidFill>
                          <a:effectLst/>
                          <a:latin typeface="+mn-lt"/>
                          <a:ea typeface="+mn-ea"/>
                          <a:cs typeface="+mn-cs"/>
                        </a:rPr>
                        <a:t>Business Team: Project Manager, Business Analyst, etc.,</a:t>
                      </a: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vMerge="1">
                  <a:txBody>
                    <a:bodyPr/>
                    <a:lstStyle/>
                    <a:p>
                      <a:pPr algn="l"/>
                      <a:endParaRPr lang="en-US" sz="1200" b="0" i="1"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vMerge="1">
                  <a:txBody>
                    <a:bodyPr/>
                    <a:lstStyle/>
                    <a:p>
                      <a:pPr algn="l"/>
                      <a:endParaRPr lang="en-US" sz="12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3"/>
                  </a:ext>
                </a:extLst>
              </a:tr>
              <a:tr h="535218">
                <a:tc>
                  <a:txBody>
                    <a:bodyPr/>
                    <a:lstStyle/>
                    <a:p>
                      <a:pPr algn="ctr"/>
                      <a:r>
                        <a:rPr lang="en-US" sz="1400" dirty="0"/>
                        <a:t>2)</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fontAlgn="b"/>
                      <a:r>
                        <a:rPr lang="en-US" sz="1400" b="1" u="none" strike="noStrike" dirty="0">
                          <a:effectLst/>
                        </a:rPr>
                        <a:t>AMS Cost </a:t>
                      </a:r>
                      <a:r>
                        <a:rPr lang="en-US" sz="1400" b="0" i="1" u="none" strike="noStrike" dirty="0">
                          <a:solidFill>
                            <a:schemeClr val="bg2">
                              <a:lumMod val="60000"/>
                              <a:lumOff val="40000"/>
                            </a:schemeClr>
                          </a:solidFill>
                          <a:effectLst/>
                        </a:rPr>
                        <a:t>(Applicable to production only)</a:t>
                      </a:r>
                      <a:endParaRPr lang="en-US" sz="1400" b="0" i="1" u="none" strike="noStrike" dirty="0">
                        <a:solidFill>
                          <a:schemeClr val="bg2">
                            <a:lumMod val="60000"/>
                            <a:lumOff val="40000"/>
                          </a:schemeClr>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171450" indent="-171450" algn="l">
                        <a:buFont typeface="Helvetica" charset="0"/>
                        <a:buChar char="-"/>
                      </a:pPr>
                      <a:r>
                        <a:rPr lang="en-US" sz="1400" dirty="0">
                          <a:solidFill>
                            <a:schemeClr val="tx1">
                              <a:lumMod val="75000"/>
                              <a:lumOff val="25000"/>
                            </a:schemeClr>
                          </a:solidFill>
                        </a:rPr>
                        <a:t>On-going</a:t>
                      </a:r>
                      <a:r>
                        <a:rPr lang="en-US" sz="1400" baseline="0" dirty="0">
                          <a:solidFill>
                            <a:schemeClr val="tx1">
                              <a:lumMod val="75000"/>
                              <a:lumOff val="25000"/>
                            </a:schemeClr>
                          </a:solidFill>
                        </a:rPr>
                        <a:t> maintenance of </a:t>
                      </a:r>
                      <a:r>
                        <a:rPr lang="en-US" sz="1400" baseline="0" dirty="0" err="1">
                          <a:solidFill>
                            <a:schemeClr val="tx1">
                              <a:lumMod val="75000"/>
                              <a:lumOff val="25000"/>
                            </a:schemeClr>
                          </a:solidFill>
                        </a:rPr>
                        <a:t>blockchain</a:t>
                      </a:r>
                      <a:r>
                        <a:rPr lang="en-US" sz="1400" baseline="0" dirty="0">
                          <a:solidFill>
                            <a:schemeClr val="tx1">
                              <a:lumMod val="75000"/>
                              <a:lumOff val="25000"/>
                            </a:schemeClr>
                          </a:solidFill>
                        </a:rPr>
                        <a:t> business logic code developed in #1 above</a:t>
                      </a:r>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a:r>
                        <a:rPr lang="en-US" sz="1400" dirty="0">
                          <a:solidFill>
                            <a:schemeClr val="tx1">
                              <a:lumMod val="75000"/>
                              <a:lumOff val="25000"/>
                            </a:schemeClr>
                          </a:solidFill>
                        </a:rPr>
                        <a:t>Complexity of business functionality selected</a:t>
                      </a:r>
                      <a:r>
                        <a:rPr lang="en-US" sz="1400" baseline="0" dirty="0">
                          <a:solidFill>
                            <a:schemeClr val="tx1">
                              <a:lumMod val="75000"/>
                              <a:lumOff val="25000"/>
                            </a:schemeClr>
                          </a:solidFill>
                        </a:rPr>
                        <a:t> in #1</a:t>
                      </a:r>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extLst>
                  <a:ext uri="{0D108BD9-81ED-4DB2-BD59-A6C34878D82A}">
                    <a16:rowId xmlns:a16="http://schemas.microsoft.com/office/drawing/2014/main" val="10004"/>
                  </a:ext>
                </a:extLst>
              </a:tr>
              <a:tr h="321130">
                <a:tc>
                  <a:txBody>
                    <a:bodyPr/>
                    <a:lstStyle/>
                    <a:p>
                      <a:pPr algn="ctr"/>
                      <a:r>
                        <a:rPr lang="en-US" sz="1400" dirty="0"/>
                        <a:t>3)</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fontAlgn="b"/>
                      <a:r>
                        <a:rPr lang="en-US" sz="1400" b="1" u="none" strike="noStrike" dirty="0" err="1">
                          <a:effectLst/>
                        </a:rPr>
                        <a:t>Blockchain</a:t>
                      </a:r>
                      <a:r>
                        <a:rPr lang="en-US" sz="1400" b="1" u="none" strike="noStrike" dirty="0">
                          <a:effectLst/>
                        </a:rPr>
                        <a:t> Software / Hardware Cost </a:t>
                      </a:r>
                      <a:endParaRPr lang="en-US" sz="1400" b="1" i="0"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171450" indent="-171450" algn="l">
                        <a:buFont typeface="Helvetica" charset="0"/>
                        <a:buChar char="-"/>
                      </a:pPr>
                      <a:r>
                        <a:rPr lang="en-US" sz="1400" dirty="0">
                          <a:solidFill>
                            <a:schemeClr val="tx1">
                              <a:lumMod val="75000"/>
                              <a:lumOff val="25000"/>
                            </a:schemeClr>
                          </a:solidFill>
                        </a:rPr>
                        <a:t>Cloud</a:t>
                      </a:r>
                      <a:r>
                        <a:rPr lang="en-US" sz="1400" baseline="0" dirty="0">
                          <a:solidFill>
                            <a:schemeClr val="tx1">
                              <a:lumMod val="75000"/>
                              <a:lumOff val="25000"/>
                            </a:schemeClr>
                          </a:solidFill>
                        </a:rPr>
                        <a:t> h</a:t>
                      </a:r>
                      <a:r>
                        <a:rPr lang="en-US" sz="1400" dirty="0">
                          <a:solidFill>
                            <a:schemeClr val="tx1">
                              <a:lumMod val="75000"/>
                              <a:lumOff val="25000"/>
                            </a:schemeClr>
                          </a:solidFill>
                        </a:rPr>
                        <a:t>osting services</a:t>
                      </a:r>
                      <a:r>
                        <a:rPr lang="en-US" sz="1400" baseline="0" dirty="0">
                          <a:solidFill>
                            <a:schemeClr val="tx1">
                              <a:lumMod val="75000"/>
                              <a:lumOff val="25000"/>
                            </a:schemeClr>
                          </a:solidFill>
                        </a:rPr>
                        <a:t> and hardware cost </a:t>
                      </a:r>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0005"/>
                  </a:ext>
                </a:extLst>
              </a:tr>
              <a:tr h="321130">
                <a:tc>
                  <a:txBody>
                    <a:bodyPr/>
                    <a:lstStyle/>
                    <a:p>
                      <a:pPr algn="ctr"/>
                      <a:r>
                        <a:rPr lang="en-US" sz="1400" dirty="0"/>
                        <a:t>4)</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fontAlgn="b"/>
                      <a:r>
                        <a:rPr lang="en-US" sz="1400" b="1" u="none" strike="noStrike" dirty="0">
                          <a:effectLst/>
                        </a:rPr>
                        <a:t>AMC Support Cost </a:t>
                      </a:r>
                      <a:r>
                        <a:rPr lang="en-US" sz="1400" b="0" i="1" u="none" strike="noStrike" dirty="0">
                          <a:solidFill>
                            <a:schemeClr val="bg2">
                              <a:lumMod val="60000"/>
                              <a:lumOff val="40000"/>
                            </a:schemeClr>
                          </a:solidFill>
                          <a:effectLst/>
                        </a:rPr>
                        <a:t>(Applicable to production only)</a:t>
                      </a:r>
                      <a:endParaRPr lang="en-US" sz="1400" b="1" i="0"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171450" indent="-171450" algn="l">
                        <a:buFont typeface="Helvetica" charset="0"/>
                        <a:buChar char="-"/>
                      </a:pPr>
                      <a:r>
                        <a:rPr lang="en-US" sz="1400" dirty="0">
                          <a:solidFill>
                            <a:schemeClr val="tx1">
                              <a:lumMod val="75000"/>
                              <a:lumOff val="25000"/>
                            </a:schemeClr>
                          </a:solidFill>
                        </a:rPr>
                        <a:t>Support staff assigned for #3</a:t>
                      </a: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extLst>
                  <a:ext uri="{0D108BD9-81ED-4DB2-BD59-A6C34878D82A}">
                    <a16:rowId xmlns:a16="http://schemas.microsoft.com/office/drawing/2014/main" val="10006"/>
                  </a:ext>
                </a:extLst>
              </a:tr>
              <a:tr h="749306">
                <a:tc>
                  <a:txBody>
                    <a:bodyPr/>
                    <a:lstStyle/>
                    <a:p>
                      <a:pPr algn="ctr"/>
                      <a:r>
                        <a:rPr lang="en-US" sz="1400" dirty="0"/>
                        <a:t>5)</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fontAlgn="b"/>
                      <a:r>
                        <a:rPr lang="en-US" sz="1400" b="1" u="none" strike="noStrike" dirty="0">
                          <a:effectLst/>
                        </a:rPr>
                        <a:t>Onboarding New Participants </a:t>
                      </a:r>
                      <a:br>
                        <a:rPr lang="en-US" sz="1400" b="1" u="none" strike="noStrike" dirty="0">
                          <a:effectLst/>
                        </a:rPr>
                      </a:br>
                      <a:r>
                        <a:rPr lang="en-US" sz="1400" b="1" u="none" strike="noStrike" dirty="0">
                          <a:effectLst/>
                        </a:rPr>
                        <a:t>($ per participant) </a:t>
                      </a:r>
                      <a:endParaRPr lang="en-US" sz="1400" b="1" i="0"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171450" indent="-171450" algn="l">
                        <a:buFont typeface="Helvetica" charset="0"/>
                        <a:buChar char="-"/>
                      </a:pPr>
                      <a:r>
                        <a:rPr lang="en-US" sz="1400" dirty="0">
                          <a:solidFill>
                            <a:schemeClr val="tx1">
                              <a:lumMod val="75000"/>
                              <a:lumOff val="25000"/>
                            </a:schemeClr>
                          </a:solidFill>
                        </a:rPr>
                        <a:t>Onboarding</a:t>
                      </a:r>
                      <a:r>
                        <a:rPr lang="en-US" sz="1400" baseline="0" dirty="0">
                          <a:solidFill>
                            <a:schemeClr val="tx1">
                              <a:lumMod val="75000"/>
                              <a:lumOff val="25000"/>
                            </a:schemeClr>
                          </a:solidFill>
                        </a:rPr>
                        <a:t> new participants and customization of interface based on agreed business rules. On a case by case basis the cost will have 2 components - </a:t>
                      </a:r>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algn="l"/>
                      <a:r>
                        <a:rPr lang="en-US" sz="1400" dirty="0">
                          <a:solidFill>
                            <a:schemeClr val="tx1">
                              <a:lumMod val="75000"/>
                              <a:lumOff val="25000"/>
                            </a:schemeClr>
                          </a:solidFill>
                        </a:rPr>
                        <a:t>Evolution of pilot by adding additional roles to the network</a:t>
                      </a: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0007"/>
                  </a:ext>
                </a:extLst>
              </a:tr>
              <a:tr h="321130">
                <a:tc>
                  <a:txBody>
                    <a:bodyPr/>
                    <a:lstStyle/>
                    <a:p>
                      <a:pPr algn="ctr"/>
                      <a:endParaRPr lang="en-US" sz="1400" dirty="0"/>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171450" indent="-171450" algn="l" fontAlgn="b">
                        <a:buFont typeface="Courier New" charset="0"/>
                        <a:buChar char="o"/>
                      </a:pPr>
                      <a:r>
                        <a:rPr lang="en-US" sz="1200" i="1" u="none" strike="noStrike" dirty="0">
                          <a:effectLst/>
                        </a:rPr>
                        <a:t>Techno functional Consulting </a:t>
                      </a:r>
                      <a:endParaRPr lang="en-US" sz="1200" b="0" i="1"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266700" indent="-168275" algn="l" defTabSz="1219170" rtl="0" eaLnBrk="1" fontAlgn="b" latinLnBrk="0" hangingPunct="1">
                        <a:buFont typeface="Courier New" charset="0"/>
                        <a:buChar char="o"/>
                        <a:tabLst/>
                      </a:pPr>
                      <a:r>
                        <a:rPr lang="en-US" sz="1200" i="1" u="none" strike="noStrike" kern="1200" dirty="0">
                          <a:solidFill>
                            <a:schemeClr val="tx1">
                              <a:lumMod val="75000"/>
                              <a:lumOff val="25000"/>
                            </a:schemeClr>
                          </a:solidFill>
                          <a:effectLst/>
                        </a:rPr>
                        <a:t>Building business logic for the participant </a:t>
                      </a:r>
                      <a:endParaRPr lang="en-US" sz="1200" i="1" u="none" strike="noStrike" kern="1200" dirty="0">
                        <a:solidFill>
                          <a:schemeClr val="tx1">
                            <a:lumMod val="75000"/>
                            <a:lumOff val="25000"/>
                          </a:schemeClr>
                        </a:solidFill>
                        <a:effectLst/>
                        <a:latin typeface="+mn-lt"/>
                        <a:ea typeface="+mn-ea"/>
                        <a:cs typeface="+mn-cs"/>
                      </a:endParaRP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extLst>
                  <a:ext uri="{0D108BD9-81ED-4DB2-BD59-A6C34878D82A}">
                    <a16:rowId xmlns:a16="http://schemas.microsoft.com/office/drawing/2014/main" val="10008"/>
                  </a:ext>
                </a:extLst>
              </a:tr>
              <a:tr h="321130">
                <a:tc>
                  <a:txBody>
                    <a:bodyPr/>
                    <a:lstStyle/>
                    <a:p>
                      <a:pPr algn="ctr"/>
                      <a:endParaRPr lang="en-US" sz="1400" dirty="0"/>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171450" indent="-171450" algn="l" fontAlgn="b">
                        <a:buFont typeface="Courier New" charset="0"/>
                        <a:buChar char="o"/>
                      </a:pPr>
                      <a:r>
                        <a:rPr lang="en-US" sz="1200" i="1" u="none" strike="noStrike" dirty="0">
                          <a:effectLst/>
                        </a:rPr>
                        <a:t>Technical and Environmental Support </a:t>
                      </a:r>
                      <a:endParaRPr lang="en-US" sz="1200" b="0" i="1" u="none" strike="noStrike" dirty="0">
                        <a:solidFill>
                          <a:srgbClr val="000000"/>
                        </a:solidFill>
                        <a:effectLst/>
                        <a:latin typeface="Calibri" charset="0"/>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marL="266700" indent="-168275" algn="l" defTabSz="1219170" rtl="0" eaLnBrk="1" fontAlgn="b" latinLnBrk="0" hangingPunct="1">
                        <a:buFont typeface="Courier New" charset="0"/>
                        <a:buChar char="o"/>
                        <a:tabLst/>
                      </a:pPr>
                      <a:r>
                        <a:rPr lang="en-US" sz="1200" i="1" u="none" strike="noStrike" kern="1200" dirty="0">
                          <a:solidFill>
                            <a:schemeClr val="tx1">
                              <a:lumMod val="75000"/>
                              <a:lumOff val="25000"/>
                            </a:schemeClr>
                          </a:solidFill>
                          <a:effectLst/>
                          <a:latin typeface="+mn-lt"/>
                          <a:ea typeface="+mn-ea"/>
                          <a:cs typeface="+mn-cs"/>
                        </a:rPr>
                        <a:t>Infrastructure impact from adding new participants</a:t>
                      </a: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tc>
                  <a:txBody>
                    <a:bodyPr/>
                    <a:lstStyle/>
                    <a:p>
                      <a:pPr algn="l"/>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F4FAFF"/>
                    </a:solidFill>
                  </a:tcPr>
                </a:tc>
                <a:extLst>
                  <a:ext uri="{0D108BD9-81ED-4DB2-BD59-A6C34878D82A}">
                    <a16:rowId xmlns:a16="http://schemas.microsoft.com/office/drawing/2014/main" val="10009"/>
                  </a:ext>
                </a:extLst>
              </a:tr>
              <a:tr h="321130">
                <a:tc>
                  <a:txBody>
                    <a:bodyPr/>
                    <a:lstStyle/>
                    <a:p>
                      <a:pPr algn="ctr"/>
                      <a:r>
                        <a:rPr lang="en-US" sz="1400" dirty="0"/>
                        <a:t>6)</a:t>
                      </a:r>
                    </a:p>
                  </a:txBody>
                  <a:tcPr anchor="ctr">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algn="l" fontAlgn="b"/>
                      <a:r>
                        <a:rPr lang="en-US" sz="1400" b="1" u="none" strike="noStrike" kern="1200" dirty="0">
                          <a:effectLst/>
                        </a:rPr>
                        <a:t>Intellectual Property</a:t>
                      </a:r>
                      <a:endParaRPr lang="en-US" sz="1400" b="1" u="none" strike="noStrike" kern="1200" dirty="0">
                        <a:solidFill>
                          <a:schemeClr val="dk1"/>
                        </a:solidFill>
                        <a:effectLst/>
                        <a:latin typeface="+mn-lt"/>
                        <a:ea typeface="+mn-ea"/>
                        <a:cs typeface="+mn-cs"/>
                      </a:endParaRPr>
                    </a:p>
                  </a:txBody>
                  <a:tcPr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171450" indent="-171450" algn="l">
                        <a:buFont typeface="Helvetica" charset="0"/>
                        <a:buChar char="-"/>
                      </a:pPr>
                      <a:r>
                        <a:rPr lang="en-US" sz="1400" dirty="0">
                          <a:solidFill>
                            <a:schemeClr val="tx1">
                              <a:lumMod val="75000"/>
                              <a:lumOff val="25000"/>
                            </a:schemeClr>
                          </a:solidFill>
                        </a:rPr>
                        <a:t>Licensing and IP related costs based on agreed T&amp;Cs</a:t>
                      </a:r>
                    </a:p>
                  </a:txBody>
                  <a:tcP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algn="l"/>
                      <a:endParaRPr lang="en-US" sz="1400" dirty="0">
                        <a:solidFill>
                          <a:schemeClr val="tx1">
                            <a:lumMod val="75000"/>
                            <a:lumOff val="25000"/>
                          </a:schemeClr>
                        </a:solidFill>
                      </a:endParaRPr>
                    </a:p>
                  </a:txBody>
                  <a:tcPr>
                    <a:lnL w="9525" cap="flat" cmpd="sng" algn="ctr">
                      <a:solidFill>
                        <a:schemeClr val="bg1">
                          <a:lumMod val="75000"/>
                        </a:schemeClr>
                      </a:solidFill>
                      <a:prstDash val="sysDot"/>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 name="Title 2"/>
          <p:cNvSpPr>
            <a:spLocks noGrp="1"/>
          </p:cNvSpPr>
          <p:nvPr>
            <p:ph type="title"/>
          </p:nvPr>
        </p:nvSpPr>
        <p:spPr>
          <a:xfrm>
            <a:off x="353483" y="365125"/>
            <a:ext cx="11000317" cy="687061"/>
          </a:xfrm>
        </p:spPr>
        <p:txBody>
          <a:bodyPr/>
          <a:lstStyle/>
          <a:p>
            <a:r>
              <a:rPr lang="en-US" sz="2800" b="1" dirty="0">
                <a:solidFill>
                  <a:srgbClr val="0070C0"/>
                </a:solidFill>
                <a:latin typeface="Arial" panose="020B0604020202020204" pitchFamily="34" charset="0"/>
                <a:cs typeface="Arial" panose="020B0604020202020204" pitchFamily="34" charset="0"/>
              </a:rPr>
              <a:t>Commercials – Key Cost Factors</a:t>
            </a:r>
          </a:p>
        </p:txBody>
      </p:sp>
      <p:sp>
        <p:nvSpPr>
          <p:cNvPr id="5" name="Slide Number Placeholder 4">
            <a:extLst>
              <a:ext uri="{FF2B5EF4-FFF2-40B4-BE49-F238E27FC236}">
                <a16:creationId xmlns:a16="http://schemas.microsoft.com/office/drawing/2014/main" id="{EA3718B6-ED1B-B847-ACA2-36B49C295C96}"/>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21</a:t>
            </a:fld>
            <a:endParaRPr lang="uk-UA" dirty="0"/>
          </a:p>
        </p:txBody>
      </p:sp>
    </p:spTree>
    <p:extLst>
      <p:ext uri="{BB962C8B-B14F-4D97-AF65-F5344CB8AC3E}">
        <p14:creationId xmlns:p14="http://schemas.microsoft.com/office/powerpoint/2010/main" val="214263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a:xfrm>
            <a:off x="209233" y="1"/>
            <a:ext cx="10623548" cy="761999"/>
          </a:xfrm>
        </p:spPr>
        <p:txBody>
          <a:bodyPr>
            <a:normAutofit/>
          </a:bodyPr>
          <a:lstStyle/>
          <a:p>
            <a:pPr algn="l"/>
            <a:r>
              <a:rPr lang="en-US" sz="2800" b="1" dirty="0">
                <a:solidFill>
                  <a:srgbClr val="0070C0"/>
                </a:solidFill>
                <a:latin typeface="Arial" panose="020B0604020202020204" pitchFamily="34" charset="0"/>
                <a:cs typeface="Arial" panose="020B0604020202020204" pitchFamily="34" charset="0"/>
              </a:rPr>
              <a:t>IBM References</a:t>
            </a:r>
          </a:p>
        </p:txBody>
      </p:sp>
      <p:sp>
        <p:nvSpPr>
          <p:cNvPr id="24" name="Rectangle 23">
            <a:extLst>
              <a:ext uri="{FF2B5EF4-FFF2-40B4-BE49-F238E27FC236}">
                <a16:creationId xmlns:a16="http://schemas.microsoft.com/office/drawing/2014/main" id="{89222B05-5788-4350-A97B-7A577FDA7F22}"/>
              </a:ext>
            </a:extLst>
          </p:cNvPr>
          <p:cNvSpPr/>
          <p:nvPr/>
        </p:nvSpPr>
        <p:spPr>
          <a:xfrm>
            <a:off x="317500" y="762000"/>
            <a:ext cx="11239500" cy="5197705"/>
          </a:xfrm>
          <a:prstGeom prst="rect">
            <a:avLst/>
          </a:prstGeom>
        </p:spPr>
        <p:txBody>
          <a:bodyPr wrap="square">
            <a:spAutoFit/>
          </a:bodyPr>
          <a:lstStyle/>
          <a:p>
            <a:pPr eaLnBrk="0" hangingPunct="0">
              <a:lnSpc>
                <a:spcPct val="130000"/>
              </a:lnSpc>
              <a:spcBef>
                <a:spcPct val="30000"/>
              </a:spcBef>
              <a:defRPr/>
            </a:pPr>
            <a:r>
              <a:rPr lang="en-US" sz="1333" dirty="0">
                <a:solidFill>
                  <a:srgbClr val="6D7777"/>
                </a:solidFill>
                <a:latin typeface="IBM Plex Sans" panose="020B0503050000000000" pitchFamily="34" charset="0"/>
                <a:ea typeface="ＭＳ Ｐゴシック" pitchFamily="34" charset="-128"/>
              </a:rPr>
              <a:t>Northern Trust: </a:t>
            </a:r>
            <a:r>
              <a:rPr lang="en-US" sz="1333" dirty="0">
                <a:solidFill>
                  <a:srgbClr val="6D7777"/>
                </a:solidFill>
                <a:latin typeface="IBM Plex Sans" panose="020B0503050000000000" pitchFamily="34" charset="0"/>
                <a:ea typeface="ＭＳ Ｐゴシック" pitchFamily="34" charset="-128"/>
                <a:hlinkClick r:id="rId3"/>
              </a:rPr>
              <a:t>http://www-03.ibm.com/press/us/en/pressrelease/51655.wss</a:t>
            </a:r>
            <a:endParaRPr lang="en-US"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US" sz="1333" dirty="0">
                <a:solidFill>
                  <a:srgbClr val="6D7777"/>
                </a:solidFill>
                <a:latin typeface="IBM Plex Sans" panose="020B0503050000000000" pitchFamily="34" charset="0"/>
                <a:ea typeface="ＭＳ Ｐゴシック" pitchFamily="34" charset="-128"/>
              </a:rPr>
              <a:t>Maersk: </a:t>
            </a:r>
            <a:r>
              <a:rPr lang="en-US" sz="1333" dirty="0">
                <a:solidFill>
                  <a:srgbClr val="6D7777"/>
                </a:solidFill>
                <a:latin typeface="IBM Plex Sans" panose="020B0503050000000000" pitchFamily="34" charset="0"/>
                <a:ea typeface="ＭＳ Ｐゴシック" pitchFamily="34" charset="-128"/>
                <a:hlinkClick r:id="rId4"/>
              </a:rPr>
              <a:t>http://www-03.ibm.com/press/us/en/pressrelease/51712.wss</a:t>
            </a:r>
            <a:endParaRPr lang="en-US"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US" sz="1333" dirty="0">
                <a:solidFill>
                  <a:srgbClr val="6D7777"/>
                </a:solidFill>
                <a:latin typeface="IBM Plex Sans" panose="020B0503050000000000" pitchFamily="34" charset="0"/>
                <a:ea typeface="ＭＳ Ｐゴシック" pitchFamily="34" charset="-128"/>
              </a:rPr>
              <a:t>HSBC, Bank of America, IDA: </a:t>
            </a:r>
            <a:r>
              <a:rPr lang="en-US" sz="1333" dirty="0">
                <a:solidFill>
                  <a:srgbClr val="5A5A5A"/>
                </a:solidFill>
                <a:latin typeface="IBM Plex Sans" panose="020B0503050000000000" pitchFamily="34" charset="0"/>
                <a:ea typeface="ＭＳ Ｐゴシック" pitchFamily="34" charset="-128"/>
                <a:hlinkClick r:id="rId5"/>
              </a:rPr>
              <a:t>http://www.coindesk.com/hsbc-bank-america-blockchain-supply-chain/</a:t>
            </a:r>
            <a:endParaRPr lang="en-US" sz="1333" dirty="0">
              <a:solidFill>
                <a:srgbClr val="5A5A5A"/>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US" sz="1333" dirty="0">
                <a:solidFill>
                  <a:srgbClr val="6D7777"/>
                </a:solidFill>
                <a:latin typeface="IBM Plex Sans" panose="020B0503050000000000" pitchFamily="34" charset="0"/>
                <a:ea typeface="ＭＳ Ｐゴシック" pitchFamily="34" charset="-128"/>
              </a:rPr>
              <a:t>ABN AMRO: </a:t>
            </a:r>
            <a:r>
              <a:rPr lang="en-GB" sz="1333" dirty="0">
                <a:solidFill>
                  <a:srgbClr val="6D7777"/>
                </a:solidFill>
                <a:latin typeface="IBM Plex Sans" panose="020B0503050000000000" pitchFamily="34" charset="0"/>
                <a:ea typeface="ＭＳ Ｐゴシック" pitchFamily="34" charset="-128"/>
                <a:hlinkClick r:id="rId6"/>
              </a:rPr>
              <a:t>https://www.abnamro.com/en/newsroom/blogs/arjan-van-os/2016/walking-the-walk-exploring-the-power-of-blockchain.html</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err="1">
                <a:solidFill>
                  <a:srgbClr val="6D7777"/>
                </a:solidFill>
                <a:latin typeface="IBM Plex Sans" panose="020B0503050000000000" pitchFamily="34" charset="0"/>
                <a:ea typeface="ＭＳ Ｐゴシック" pitchFamily="34" charset="-128"/>
              </a:rPr>
              <a:t>Crédit</a:t>
            </a:r>
            <a:r>
              <a:rPr lang="en-GB" sz="1333" dirty="0">
                <a:solidFill>
                  <a:srgbClr val="6D7777"/>
                </a:solidFill>
                <a:latin typeface="IBM Plex Sans" panose="020B0503050000000000" pitchFamily="34" charset="0"/>
                <a:ea typeface="ＭＳ Ｐゴシック" pitchFamily="34" charset="-128"/>
              </a:rPr>
              <a:t> </a:t>
            </a:r>
            <a:r>
              <a:rPr lang="en-GB" sz="1333" dirty="0" err="1">
                <a:solidFill>
                  <a:srgbClr val="6D7777"/>
                </a:solidFill>
                <a:latin typeface="IBM Plex Sans" panose="020B0503050000000000" pitchFamily="34" charset="0"/>
                <a:ea typeface="ＭＳ Ｐゴシック" pitchFamily="34" charset="-128"/>
              </a:rPr>
              <a:t>Mutuel</a:t>
            </a:r>
            <a:r>
              <a:rPr lang="en-GB" sz="1333" dirty="0">
                <a:solidFill>
                  <a:srgbClr val="6D7777"/>
                </a:solidFill>
                <a:latin typeface="IBM Plex Sans" panose="020B0503050000000000" pitchFamily="34" charset="0"/>
                <a:ea typeface="ＭＳ Ｐゴシック" pitchFamily="34" charset="-128"/>
              </a:rPr>
              <a:t> </a:t>
            </a:r>
            <a:r>
              <a:rPr lang="en-GB" sz="1333" dirty="0" err="1">
                <a:solidFill>
                  <a:srgbClr val="6D7777"/>
                </a:solidFill>
                <a:latin typeface="IBM Plex Sans" panose="020B0503050000000000" pitchFamily="34" charset="0"/>
                <a:ea typeface="ＭＳ Ｐゴシック" pitchFamily="34" charset="-128"/>
              </a:rPr>
              <a:t>Arkéa</a:t>
            </a:r>
            <a:r>
              <a:rPr lang="en-GB" sz="1333" dirty="0">
                <a:solidFill>
                  <a:srgbClr val="6D7777"/>
                </a:solidFill>
                <a:latin typeface="IBM Plex Sans" panose="020B0503050000000000" pitchFamily="34" charset="0"/>
                <a:ea typeface="ＭＳ Ｐゴシック" pitchFamily="34" charset="-128"/>
              </a:rPr>
              <a:t>: </a:t>
            </a:r>
            <a:r>
              <a:rPr lang="en-GB" sz="1333" dirty="0">
                <a:solidFill>
                  <a:srgbClr val="6D7777"/>
                </a:solidFill>
                <a:latin typeface="IBM Plex Sans" panose="020B0503050000000000" pitchFamily="34" charset="0"/>
                <a:ea typeface="ＭＳ Ｐゴシック" pitchFamily="34" charset="-128"/>
                <a:hlinkClick r:id="rId7"/>
              </a:rPr>
              <a:t>http://www.coindesk.com/ibm-completes-blockchain-trial-french-bank-credit-mutuel/</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JPX: </a:t>
            </a:r>
            <a:r>
              <a:rPr lang="en-GB" sz="1333" dirty="0">
                <a:solidFill>
                  <a:srgbClr val="6D7777"/>
                </a:solidFill>
                <a:latin typeface="IBM Plex Sans" panose="020B0503050000000000" pitchFamily="34" charset="0"/>
                <a:ea typeface="ＭＳ Ｐゴシック" pitchFamily="34" charset="-128"/>
                <a:hlinkClick r:id="rId8"/>
              </a:rPr>
              <a:t>http://www.ibm.com/press/us/en/pressrelease/49088.wss</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err="1">
                <a:solidFill>
                  <a:srgbClr val="6D7777"/>
                </a:solidFill>
                <a:latin typeface="IBM Plex Sans" panose="020B0503050000000000" pitchFamily="34" charset="0"/>
                <a:ea typeface="ＭＳ Ｐゴシック" pitchFamily="34" charset="-128"/>
              </a:rPr>
              <a:t>Kouvola</a:t>
            </a:r>
            <a:r>
              <a:rPr lang="en-GB" sz="1333" dirty="0">
                <a:solidFill>
                  <a:srgbClr val="6D7777"/>
                </a:solidFill>
                <a:latin typeface="IBM Plex Sans" panose="020B0503050000000000" pitchFamily="34" charset="0"/>
                <a:ea typeface="ＭＳ Ｐゴシック" pitchFamily="34" charset="-128"/>
              </a:rPr>
              <a:t> Innovation: </a:t>
            </a:r>
            <a:r>
              <a:rPr lang="en-GB" sz="1333" dirty="0">
                <a:solidFill>
                  <a:srgbClr val="6D7777"/>
                </a:solidFill>
                <a:latin typeface="IBM Plex Sans" panose="020B0503050000000000" pitchFamily="34" charset="0"/>
                <a:ea typeface="ＭＳ Ｐゴシック" pitchFamily="34" charset="-128"/>
                <a:hlinkClick r:id="rId9"/>
              </a:rPr>
              <a:t>http://www.ibm.com/press/us/en/pressrelease/49029.wss</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London Stock Exchange: </a:t>
            </a:r>
            <a:r>
              <a:rPr lang="en-GB" sz="1333" dirty="0">
                <a:solidFill>
                  <a:srgbClr val="6D7777"/>
                </a:solidFill>
                <a:latin typeface="IBM Plex Sans" panose="020B0503050000000000" pitchFamily="34" charset="0"/>
                <a:ea typeface="ＭＳ Ｐゴシック" pitchFamily="34" charset="-128"/>
                <a:hlinkClick r:id="rId10"/>
              </a:rPr>
              <a:t>http://www.ibtimes.co.uk/linux-foundation-blockchain-consortium-digital-asset-ibm-credits-london-stock-exchange-board-1533798</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Mizuho: </a:t>
            </a:r>
            <a:r>
              <a:rPr lang="en-GB" sz="1333" dirty="0">
                <a:solidFill>
                  <a:srgbClr val="6D7777"/>
                </a:solidFill>
                <a:latin typeface="IBM Plex Sans" panose="020B0503050000000000" pitchFamily="34" charset="0"/>
                <a:ea typeface="ＭＳ Ｐゴシック" pitchFamily="34" charset="-128"/>
                <a:hlinkClick r:id="rId11"/>
              </a:rPr>
              <a:t>http://www.coindesk.com/mizuho-digital-currency-powered-blockchain-settlement/</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IBM Global Finance: </a:t>
            </a:r>
            <a:r>
              <a:rPr lang="en-GB" sz="1333" dirty="0">
                <a:solidFill>
                  <a:srgbClr val="6D7777"/>
                </a:solidFill>
                <a:latin typeface="IBM Plex Sans" panose="020B0503050000000000" pitchFamily="34" charset="0"/>
                <a:ea typeface="ＭＳ Ｐゴシック" pitchFamily="34" charset="-128"/>
                <a:hlinkClick r:id="rId12"/>
              </a:rPr>
              <a:t>http://www.coindesk.com/ibm-building-blockchain-dispute-resolution-system/</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Everledger: </a:t>
            </a:r>
            <a:r>
              <a:rPr lang="en-GB" sz="1333" dirty="0">
                <a:solidFill>
                  <a:srgbClr val="6D7777"/>
                </a:solidFill>
                <a:latin typeface="IBM Plex Sans" panose="020B0503050000000000" pitchFamily="34" charset="0"/>
                <a:ea typeface="ＭＳ Ｐゴシック" pitchFamily="34" charset="-128"/>
                <a:hlinkClick r:id="rId13"/>
              </a:rPr>
              <a:t>https://www-03.ibm.com/press/us/en/pressrelease/50169.wss</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Bank of Tokyo Mitsubishi: </a:t>
            </a:r>
            <a:r>
              <a:rPr lang="en-GB" sz="1333" dirty="0">
                <a:solidFill>
                  <a:srgbClr val="6D7777"/>
                </a:solidFill>
                <a:latin typeface="IBM Plex Sans" panose="020B0503050000000000" pitchFamily="34" charset="0"/>
                <a:ea typeface="ＭＳ Ｐゴシック" pitchFamily="34" charset="-128"/>
                <a:hlinkClick r:id="rId14"/>
              </a:rPr>
              <a:t>https://www-03.ibm.com/press/us/en/pressrelease/50544.wss</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China </a:t>
            </a:r>
            <a:r>
              <a:rPr lang="en-GB" sz="1333" dirty="0" err="1">
                <a:solidFill>
                  <a:srgbClr val="6D7777"/>
                </a:solidFill>
                <a:latin typeface="IBM Plex Sans" panose="020B0503050000000000" pitchFamily="34" charset="0"/>
                <a:ea typeface="ＭＳ Ｐゴシック" pitchFamily="34" charset="-128"/>
              </a:rPr>
              <a:t>UnionPay</a:t>
            </a:r>
            <a:r>
              <a:rPr lang="en-GB" sz="1333" dirty="0">
                <a:solidFill>
                  <a:srgbClr val="6D7777"/>
                </a:solidFill>
                <a:latin typeface="IBM Plex Sans" panose="020B0503050000000000" pitchFamily="34" charset="0"/>
                <a:ea typeface="ＭＳ Ｐゴシック" pitchFamily="34" charset="-128"/>
              </a:rPr>
              <a:t>: </a:t>
            </a:r>
            <a:r>
              <a:rPr lang="en-GB" sz="1333" dirty="0">
                <a:solidFill>
                  <a:srgbClr val="6D7777"/>
                </a:solidFill>
                <a:latin typeface="IBM Plex Sans" panose="020B0503050000000000" pitchFamily="34" charset="0"/>
                <a:ea typeface="ＭＳ Ｐゴシック" pitchFamily="34" charset="-128"/>
                <a:hlinkClick r:id="rId15"/>
              </a:rPr>
              <a:t>http://www.coindesk.com/ibm-china-unionpay-blockchain-loyalty-exchange/</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CLS: </a:t>
            </a:r>
            <a:r>
              <a:rPr lang="en-GB" sz="1333" dirty="0">
                <a:solidFill>
                  <a:srgbClr val="6D7777"/>
                </a:solidFill>
                <a:latin typeface="IBM Plex Sans" panose="020B0503050000000000" pitchFamily="34" charset="0"/>
                <a:ea typeface="ＭＳ Ｐゴシック" pitchFamily="34" charset="-128"/>
                <a:hlinkClick r:id="rId16"/>
              </a:rPr>
              <a:t>http://www.coindesk.com/cls-to-develop-blockchain-payment-service-on-ibm-fabric/</a:t>
            </a:r>
            <a:endParaRPr lang="en-GB" sz="1333" dirty="0">
              <a:solidFill>
                <a:srgbClr val="6D7777"/>
              </a:solidFill>
              <a:latin typeface="IBM Plex Sans" panose="020B0503050000000000" pitchFamily="34" charset="0"/>
              <a:ea typeface="ＭＳ Ｐゴシック" pitchFamily="34" charset="-128"/>
            </a:endParaRPr>
          </a:p>
          <a:p>
            <a:pPr eaLnBrk="0" hangingPunct="0">
              <a:lnSpc>
                <a:spcPct val="130000"/>
              </a:lnSpc>
              <a:spcBef>
                <a:spcPct val="30000"/>
              </a:spcBef>
              <a:defRPr/>
            </a:pPr>
            <a:r>
              <a:rPr lang="en-GB" sz="1333" dirty="0">
                <a:solidFill>
                  <a:srgbClr val="6D7777"/>
                </a:solidFill>
                <a:latin typeface="IBM Plex Sans" panose="020B0503050000000000" pitchFamily="34" charset="0"/>
                <a:ea typeface="ＭＳ Ｐゴシック" pitchFamily="34" charset="-128"/>
              </a:rPr>
              <a:t>UBS: </a:t>
            </a:r>
            <a:r>
              <a:rPr lang="en-GB" sz="1333" dirty="0">
                <a:solidFill>
                  <a:srgbClr val="6D7777"/>
                </a:solidFill>
                <a:latin typeface="IBM Plex Sans" panose="020B0503050000000000" pitchFamily="34" charset="0"/>
                <a:ea typeface="ＭＳ Ｐゴシック" pitchFamily="34" charset="-128"/>
                <a:hlinkClick r:id="rId17"/>
              </a:rPr>
              <a:t>http://www.coindesk.com/ubs-blockchain-prototype-trade/</a:t>
            </a:r>
            <a:endParaRPr lang="en-GB" sz="1333" dirty="0">
              <a:solidFill>
                <a:srgbClr val="6D7777"/>
              </a:solidFill>
              <a:latin typeface="IBM Plex Sans" panose="020B0503050000000000" pitchFamily="34" charset="0"/>
              <a:ea typeface="ＭＳ Ｐゴシック" pitchFamily="34" charset="-128"/>
            </a:endParaRPr>
          </a:p>
        </p:txBody>
      </p:sp>
      <p:sp>
        <p:nvSpPr>
          <p:cNvPr id="5" name="Slide Number Placeholder 5"/>
          <p:cNvSpPr>
            <a:spLocks noGrp="1"/>
          </p:cNvSpPr>
          <p:nvPr>
            <p:ph type="sldNum" sz="quarter" idx="4294967295"/>
          </p:nvPr>
        </p:nvSpPr>
        <p:spPr>
          <a:xfrm>
            <a:off x="11620500" y="6492875"/>
            <a:ext cx="571500" cy="365125"/>
          </a:xfrm>
          <a:prstGeom prst="rect">
            <a:avLst/>
          </a:prstGeom>
        </p:spPr>
        <p:txBody>
          <a:bodyPr vert="horz" wrap="square" lIns="121647" tIns="60832" rIns="121647" bIns="60832" numCol="1" rtlCol="0" anchor="ctr" anchorCtr="0" compatLnSpc="1">
            <a:prstTxWarp prst="textNoShape">
              <a:avLst/>
            </a:prstTxWarp>
          </a:bodyPr>
          <a:lstStyle>
            <a:lvl1pPr algn="r" eaLnBrk="1" hangingPunct="1">
              <a:defRPr sz="1583">
                <a:solidFill>
                  <a:srgbClr val="898989"/>
                </a:solidFill>
                <a:latin typeface="Calibri" charset="0"/>
              </a:defRPr>
            </a:lvl1pPr>
          </a:lstStyle>
          <a:p>
            <a:fld id="{E9CB18D1-D1C4-3E42-9360-62FC4E64BA2F}" type="slidenum">
              <a:rPr lang="en-US" altLang="en-US"/>
              <a:pPr/>
              <a:t>22</a:t>
            </a:fld>
            <a:endParaRPr lang="en-US" altLang="en-US"/>
          </a:p>
        </p:txBody>
      </p:sp>
      <p:pic>
        <p:nvPicPr>
          <p:cNvPr id="6" name="Picture 16" descr="5300_IBMpos_black_PPT_bkgd"/>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380703" y="90237"/>
            <a:ext cx="714375" cy="31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048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97206-B451-FD4B-AD9C-9FDE3FD1A75D}"/>
              </a:ext>
            </a:extLst>
          </p:cNvPr>
          <p:cNvSpPr>
            <a:spLocks noGrp="1"/>
          </p:cNvSpPr>
          <p:nvPr>
            <p:ph type="title"/>
          </p:nvPr>
        </p:nvSpPr>
        <p:spPr>
          <a:xfrm>
            <a:off x="838200" y="365125"/>
            <a:ext cx="10515600" cy="536023"/>
          </a:xfrm>
        </p:spPr>
        <p:txBody>
          <a:bodyPr/>
          <a:lstStyle/>
          <a:p>
            <a:r>
              <a:rPr lang="en-US" sz="2800" b="1" dirty="0">
                <a:solidFill>
                  <a:srgbClr val="0070C0"/>
                </a:solidFill>
                <a:latin typeface="Arial" panose="020B0604020202020204" pitchFamily="34" charset="0"/>
                <a:cs typeface="Arial" panose="020B0604020202020204" pitchFamily="34" charset="0"/>
              </a:rPr>
              <a:t>IBM Contact Details</a:t>
            </a:r>
          </a:p>
        </p:txBody>
      </p:sp>
      <p:graphicFrame>
        <p:nvGraphicFramePr>
          <p:cNvPr id="4" name="Table 3">
            <a:extLst>
              <a:ext uri="{FF2B5EF4-FFF2-40B4-BE49-F238E27FC236}">
                <a16:creationId xmlns:a16="http://schemas.microsoft.com/office/drawing/2014/main" id="{B071319A-6489-894D-B36F-1F07EB0588B9}"/>
              </a:ext>
            </a:extLst>
          </p:cNvPr>
          <p:cNvGraphicFramePr>
            <a:graphicFrameLocks noGrp="1"/>
          </p:cNvGraphicFramePr>
          <p:nvPr>
            <p:extLst>
              <p:ext uri="{D42A27DB-BD31-4B8C-83A1-F6EECF244321}">
                <p14:modId xmlns:p14="http://schemas.microsoft.com/office/powerpoint/2010/main" val="1892220556"/>
              </p:ext>
            </p:extLst>
          </p:nvPr>
        </p:nvGraphicFramePr>
        <p:xfrm>
          <a:off x="838200" y="1404730"/>
          <a:ext cx="10730948" cy="1485900"/>
        </p:xfrm>
        <a:graphic>
          <a:graphicData uri="http://schemas.openxmlformats.org/drawingml/2006/table">
            <a:tbl>
              <a:tblPr firstRow="1" bandRow="1">
                <a:tableStyleId>{5FD0F851-EC5A-4D38-B0AD-8093EC10F338}</a:tableStyleId>
              </a:tblPr>
              <a:tblGrid>
                <a:gridCol w="2170304">
                  <a:extLst>
                    <a:ext uri="{9D8B030D-6E8A-4147-A177-3AD203B41FA5}">
                      <a16:colId xmlns:a16="http://schemas.microsoft.com/office/drawing/2014/main" val="20000"/>
                    </a:ext>
                  </a:extLst>
                </a:gridCol>
                <a:gridCol w="4983661">
                  <a:extLst>
                    <a:ext uri="{9D8B030D-6E8A-4147-A177-3AD203B41FA5}">
                      <a16:colId xmlns:a16="http://schemas.microsoft.com/office/drawing/2014/main" val="20001"/>
                    </a:ext>
                  </a:extLst>
                </a:gridCol>
                <a:gridCol w="3576983">
                  <a:extLst>
                    <a:ext uri="{9D8B030D-6E8A-4147-A177-3AD203B41FA5}">
                      <a16:colId xmlns:a16="http://schemas.microsoft.com/office/drawing/2014/main" val="20002"/>
                    </a:ext>
                  </a:extLst>
                </a:gridCol>
              </a:tblGrid>
              <a:tr h="457200">
                <a:tc>
                  <a:txBody>
                    <a:bodyPr/>
                    <a:lstStyle/>
                    <a:p>
                      <a:pPr algn="ctr"/>
                      <a:r>
                        <a:rPr lang="en-US" sz="2000" b="1" i="1" dirty="0">
                          <a:solidFill>
                            <a:schemeClr val="bg1"/>
                          </a:solidFill>
                          <a:latin typeface="Arial" charset="0"/>
                          <a:ea typeface="Arial" charset="0"/>
                          <a:cs typeface="Arial" charset="0"/>
                        </a:rPr>
                        <a:t>IBM</a:t>
                      </a:r>
                      <a:r>
                        <a:rPr lang="en-US" sz="2000" b="1" i="1" baseline="0" dirty="0">
                          <a:solidFill>
                            <a:schemeClr val="bg1"/>
                          </a:solidFill>
                          <a:latin typeface="Arial" charset="0"/>
                          <a:ea typeface="Arial" charset="0"/>
                          <a:cs typeface="Arial" charset="0"/>
                        </a:rPr>
                        <a:t> Participant</a:t>
                      </a:r>
                      <a:endParaRPr lang="en-US" sz="2000" b="1" i="1" dirty="0">
                        <a:solidFill>
                          <a:schemeClr val="bg1"/>
                        </a:solidFill>
                        <a:latin typeface="Arial" charset="0"/>
                        <a:ea typeface="Arial" charset="0"/>
                        <a:cs typeface="Arial"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2000" b="1" i="1" dirty="0">
                          <a:solidFill>
                            <a:schemeClr val="bg1"/>
                          </a:solidFill>
                          <a:latin typeface="Arial" charset="0"/>
                          <a:ea typeface="Arial" charset="0"/>
                          <a:cs typeface="Arial" charset="0"/>
                        </a:rPr>
                        <a:t>Ro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2000" b="1" i="1" dirty="0">
                          <a:solidFill>
                            <a:schemeClr val="bg1"/>
                          </a:solidFill>
                          <a:latin typeface="Arial" charset="0"/>
                          <a:ea typeface="Arial" charset="0"/>
                          <a:cs typeface="Arial" charset="0"/>
                        </a:rPr>
                        <a:t>Contact Detail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1028700">
                <a:tc>
                  <a:txBody>
                    <a:bodyPr/>
                    <a:lstStyle/>
                    <a:p>
                      <a:r>
                        <a:rPr lang="en-US" sz="1800" dirty="0">
                          <a:latin typeface="Arial" charset="0"/>
                          <a:ea typeface="Arial" charset="0"/>
                          <a:cs typeface="Arial" charset="0"/>
                        </a:rPr>
                        <a:t>Jitan</a:t>
                      </a:r>
                      <a:r>
                        <a:rPr lang="en-US" sz="1800" baseline="0" dirty="0">
                          <a:latin typeface="Arial" charset="0"/>
                          <a:ea typeface="Arial" charset="0"/>
                          <a:cs typeface="Arial" charset="0"/>
                        </a:rPr>
                        <a:t> Chandanani</a:t>
                      </a:r>
                      <a:endParaRPr lang="en-US" sz="1800" b="0" i="0" dirty="0">
                        <a:latin typeface="Arial" charset="0"/>
                        <a:ea typeface="Arial" charset="0"/>
                        <a:cs typeface="Arial"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85000"/>
                        <a:alpha val="20000"/>
                      </a:schemeClr>
                    </a:solidFill>
                  </a:tcPr>
                </a:tc>
                <a:tc>
                  <a:txBody>
                    <a:bodyPr/>
                    <a:lstStyle/>
                    <a:p>
                      <a:r>
                        <a:rPr lang="en-US" sz="1800" dirty="0" err="1">
                          <a:latin typeface="Arial" charset="0"/>
                          <a:ea typeface="Arial" charset="0"/>
                          <a:cs typeface="Arial" charset="0"/>
                        </a:rPr>
                        <a:t>Blockchain</a:t>
                      </a:r>
                      <a:r>
                        <a:rPr lang="en-US" sz="1800" dirty="0">
                          <a:latin typeface="Arial" charset="0"/>
                          <a:ea typeface="Arial" charset="0"/>
                          <a:cs typeface="Arial" charset="0"/>
                        </a:rPr>
                        <a:t> Leader </a:t>
                      </a:r>
                      <a:r>
                        <a:rPr lang="mr-IN" sz="1800" dirty="0">
                          <a:latin typeface="Arial" charset="0"/>
                          <a:ea typeface="Arial" charset="0"/>
                          <a:cs typeface="Arial" charset="0"/>
                        </a:rPr>
                        <a:t>–</a:t>
                      </a:r>
                      <a:r>
                        <a:rPr lang="en-US" sz="1800" dirty="0">
                          <a:latin typeface="Arial" charset="0"/>
                          <a:ea typeface="Arial" charset="0"/>
                          <a:cs typeface="Arial" charset="0"/>
                        </a:rPr>
                        <a:t> India &amp;</a:t>
                      </a:r>
                      <a:r>
                        <a:rPr lang="en-US" sz="1800" baseline="0" dirty="0">
                          <a:latin typeface="Arial" charset="0"/>
                          <a:ea typeface="Arial" charset="0"/>
                          <a:cs typeface="Arial" charset="0"/>
                        </a:rPr>
                        <a:t> South Asia</a:t>
                      </a:r>
                      <a:endParaRPr lang="en-US" sz="1800" b="0" i="0" dirty="0">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85000"/>
                        <a:alpha val="20000"/>
                      </a:schemeClr>
                    </a:solidFill>
                  </a:tcPr>
                </a:tc>
                <a:tc>
                  <a:txBody>
                    <a:bodyPr/>
                    <a:lstStyle/>
                    <a:p>
                      <a:r>
                        <a:rPr lang="en-US" sz="1800" dirty="0">
                          <a:latin typeface="Arial" charset="0"/>
                          <a:ea typeface="Arial" charset="0"/>
                          <a:cs typeface="Arial" charset="0"/>
                          <a:hlinkClick r:id="rId2"/>
                        </a:rPr>
                        <a:t>chandan1@in.ibm.com</a:t>
                      </a:r>
                      <a:endParaRPr lang="en-US" sz="1800" dirty="0">
                        <a:latin typeface="Arial" charset="0"/>
                        <a:ea typeface="Arial" charset="0"/>
                        <a:cs typeface="Arial" charset="0"/>
                      </a:endParaRPr>
                    </a:p>
                    <a:p>
                      <a:endParaRPr lang="en-US" sz="1800" dirty="0">
                        <a:latin typeface="Arial" charset="0"/>
                        <a:ea typeface="Arial" charset="0"/>
                        <a:cs typeface="Arial" charset="0"/>
                      </a:endParaRPr>
                    </a:p>
                    <a:p>
                      <a:r>
                        <a:rPr lang="en-US" sz="1800" dirty="0">
                          <a:latin typeface="Arial" charset="0"/>
                          <a:ea typeface="Arial" charset="0"/>
                          <a:cs typeface="Arial" charset="0"/>
                        </a:rPr>
                        <a:t>(+91) 99870 - 09777</a:t>
                      </a:r>
                      <a:endParaRPr lang="en-US" sz="1800" b="0" i="0" dirty="0">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lumMod val="85000"/>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5844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4916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Blockchain</a:t>
            </a:r>
            <a:r>
              <a:rPr lang="en-US" dirty="0"/>
              <a:t> is </a:t>
            </a:r>
            <a:r>
              <a:rPr lang="mr-IN" dirty="0"/>
              <a:t>…</a:t>
            </a:r>
            <a:r>
              <a:rPr lang="en-US" dirty="0"/>
              <a:t> </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98121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b="1" dirty="0">
                <a:solidFill>
                  <a:srgbClr val="0070C0"/>
                </a:solidFill>
                <a:latin typeface="Arial" panose="020B0604020202020204" pitchFamily="34" charset="0"/>
                <a:cs typeface="Arial" panose="020B0604020202020204" pitchFamily="34" charset="0"/>
              </a:rPr>
              <a:t>The Problem Statement</a:t>
            </a:r>
          </a:p>
        </p:txBody>
      </p:sp>
      <p:sp>
        <p:nvSpPr>
          <p:cNvPr id="29698" name="Slide Number Placeholder 1"/>
          <p:cNvSpPr>
            <a:spLocks noGrp="1"/>
          </p:cNvSpPr>
          <p:nvPr>
            <p:ph type="sldNum" sz="quarter" idx="12"/>
          </p:nvPr>
        </p:nvSpPr>
        <p:spPr>
          <a:prstGeom prst="rect">
            <a:avLst/>
          </a:prstGeom>
          <a:noFill/>
        </p:spPr>
        <p:txBody>
          <a:bodyPr/>
          <a:lstStyle>
            <a:lvl1pPr>
              <a:defRPr sz="1600">
                <a:solidFill>
                  <a:schemeClr val="accent1"/>
                </a:solidFill>
                <a:latin typeface="Arial" charset="0"/>
                <a:ea typeface="Arial" charset="0"/>
                <a:cs typeface="Arial" charset="0"/>
              </a:defRPr>
            </a:lvl1pPr>
            <a:lvl2pPr marL="742932" indent="-285744">
              <a:defRPr sz="1600">
                <a:solidFill>
                  <a:schemeClr val="accent1"/>
                </a:solidFill>
                <a:latin typeface="Arial" charset="0"/>
                <a:ea typeface="Arial" charset="0"/>
                <a:cs typeface="Arial" charset="0"/>
              </a:defRPr>
            </a:lvl2pPr>
            <a:lvl3pPr marL="1142971" indent="-228594">
              <a:defRPr sz="1600">
                <a:solidFill>
                  <a:schemeClr val="accent1"/>
                </a:solidFill>
                <a:latin typeface="Arial" charset="0"/>
                <a:ea typeface="Arial" charset="0"/>
                <a:cs typeface="Arial" charset="0"/>
              </a:defRPr>
            </a:lvl3pPr>
            <a:lvl4pPr marL="1600160" indent="-228594">
              <a:defRPr sz="1600">
                <a:solidFill>
                  <a:schemeClr val="accent1"/>
                </a:solidFill>
                <a:latin typeface="Arial" charset="0"/>
                <a:ea typeface="Arial" charset="0"/>
                <a:cs typeface="Arial" charset="0"/>
              </a:defRPr>
            </a:lvl4pPr>
            <a:lvl5pPr marL="2057349" indent="-228594">
              <a:defRPr sz="1600">
                <a:solidFill>
                  <a:schemeClr val="accent1"/>
                </a:solidFill>
                <a:latin typeface="Arial" charset="0"/>
                <a:ea typeface="Arial" charset="0"/>
                <a:cs typeface="Arial" charset="0"/>
              </a:defRPr>
            </a:lvl5pPr>
            <a:lvl6pPr marL="2514537" indent="-228594" eaLnBrk="0" fontAlgn="base" hangingPunct="0">
              <a:spcBef>
                <a:spcPct val="0"/>
              </a:spcBef>
              <a:spcAft>
                <a:spcPct val="0"/>
              </a:spcAft>
              <a:defRPr sz="1600">
                <a:solidFill>
                  <a:schemeClr val="accent1"/>
                </a:solidFill>
                <a:latin typeface="Arial" charset="0"/>
                <a:ea typeface="Arial" charset="0"/>
                <a:cs typeface="Arial" charset="0"/>
              </a:defRPr>
            </a:lvl6pPr>
            <a:lvl7pPr marL="2971726" indent="-228594" eaLnBrk="0" fontAlgn="base" hangingPunct="0">
              <a:spcBef>
                <a:spcPct val="0"/>
              </a:spcBef>
              <a:spcAft>
                <a:spcPct val="0"/>
              </a:spcAft>
              <a:defRPr sz="1600">
                <a:solidFill>
                  <a:schemeClr val="accent1"/>
                </a:solidFill>
                <a:latin typeface="Arial" charset="0"/>
                <a:ea typeface="Arial" charset="0"/>
                <a:cs typeface="Arial" charset="0"/>
              </a:defRPr>
            </a:lvl7pPr>
            <a:lvl8pPr marL="3428914" indent="-228594" eaLnBrk="0" fontAlgn="base" hangingPunct="0">
              <a:spcBef>
                <a:spcPct val="0"/>
              </a:spcBef>
              <a:spcAft>
                <a:spcPct val="0"/>
              </a:spcAft>
              <a:defRPr sz="1600">
                <a:solidFill>
                  <a:schemeClr val="accent1"/>
                </a:solidFill>
                <a:latin typeface="Arial" charset="0"/>
                <a:ea typeface="Arial" charset="0"/>
                <a:cs typeface="Arial" charset="0"/>
              </a:defRPr>
            </a:lvl8pPr>
            <a:lvl9pPr marL="3886103" indent="-228594" eaLnBrk="0" fontAlgn="base" hangingPunct="0">
              <a:spcBef>
                <a:spcPct val="0"/>
              </a:spcBef>
              <a:spcAft>
                <a:spcPct val="0"/>
              </a:spcAft>
              <a:defRPr sz="1600">
                <a:solidFill>
                  <a:schemeClr val="accent1"/>
                </a:solidFill>
                <a:latin typeface="Arial" charset="0"/>
                <a:ea typeface="Arial" charset="0"/>
                <a:cs typeface="Arial" charset="0"/>
              </a:defRPr>
            </a:lvl9pPr>
          </a:lstStyle>
          <a:p>
            <a:fld id="{D59706CC-4DF9-2144-B7D9-62AB31B91921}" type="slidenum">
              <a:rPr lang="en-US" altLang="en-US" sz="800">
                <a:solidFill>
                  <a:schemeClr val="bg1"/>
                </a:solidFill>
              </a:rPr>
              <a:pPr/>
              <a:t>4</a:t>
            </a:fld>
            <a:endParaRPr lang="en-US" altLang="en-US" sz="80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823184367"/>
              </p:ext>
            </p:extLst>
          </p:nvPr>
        </p:nvGraphicFramePr>
        <p:xfrm>
          <a:off x="950494" y="2002509"/>
          <a:ext cx="10515600" cy="3705681"/>
        </p:xfrm>
        <a:graphic>
          <a:graphicData uri="http://schemas.openxmlformats.org/drawingml/2006/table">
            <a:tbl>
              <a:tblPr firstRow="1" bandRow="1">
                <a:tableStyleId>{69012ECD-51FC-41F1-AA8D-1B2483CD663E}</a:tableStyleId>
              </a:tblPr>
              <a:tblGrid>
                <a:gridCol w="2113547">
                  <a:extLst>
                    <a:ext uri="{9D8B030D-6E8A-4147-A177-3AD203B41FA5}">
                      <a16:colId xmlns:a16="http://schemas.microsoft.com/office/drawing/2014/main" val="20000"/>
                    </a:ext>
                  </a:extLst>
                </a:gridCol>
                <a:gridCol w="1347537">
                  <a:extLst>
                    <a:ext uri="{9D8B030D-6E8A-4147-A177-3AD203B41FA5}">
                      <a16:colId xmlns:a16="http://schemas.microsoft.com/office/drawing/2014/main" val="20001"/>
                    </a:ext>
                  </a:extLst>
                </a:gridCol>
                <a:gridCol w="1404909">
                  <a:extLst>
                    <a:ext uri="{9D8B030D-6E8A-4147-A177-3AD203B41FA5}">
                      <a16:colId xmlns:a16="http://schemas.microsoft.com/office/drawing/2014/main" val="20002"/>
                    </a:ext>
                  </a:extLst>
                </a:gridCol>
                <a:gridCol w="2277284">
                  <a:extLst>
                    <a:ext uri="{9D8B030D-6E8A-4147-A177-3AD203B41FA5}">
                      <a16:colId xmlns:a16="http://schemas.microsoft.com/office/drawing/2014/main" val="20003"/>
                    </a:ext>
                  </a:extLst>
                </a:gridCol>
                <a:gridCol w="1610619">
                  <a:extLst>
                    <a:ext uri="{9D8B030D-6E8A-4147-A177-3AD203B41FA5}">
                      <a16:colId xmlns:a16="http://schemas.microsoft.com/office/drawing/2014/main" val="20004"/>
                    </a:ext>
                  </a:extLst>
                </a:gridCol>
                <a:gridCol w="1761704">
                  <a:extLst>
                    <a:ext uri="{9D8B030D-6E8A-4147-A177-3AD203B41FA5}">
                      <a16:colId xmlns:a16="http://schemas.microsoft.com/office/drawing/2014/main" val="20005"/>
                    </a:ext>
                  </a:extLst>
                </a:gridCol>
              </a:tblGrid>
              <a:tr h="370915">
                <a:tc>
                  <a:txBody>
                    <a:bodyPr/>
                    <a:lstStyle/>
                    <a:p>
                      <a:pPr algn="ctr"/>
                      <a:r>
                        <a:rPr lang="en-US" sz="1800" dirty="0"/>
                        <a:t>Asset Type</a:t>
                      </a:r>
                    </a:p>
                  </a:txBody>
                  <a:tcPr marL="45716" marR="45716" marT="45729" marB="45729" anchor="ctr"/>
                </a:tc>
                <a:tc>
                  <a:txBody>
                    <a:bodyPr/>
                    <a:lstStyle/>
                    <a:p>
                      <a:pPr algn="ctr"/>
                      <a:r>
                        <a:rPr lang="en-US" sz="1800" dirty="0"/>
                        <a:t>Ownership</a:t>
                      </a:r>
                    </a:p>
                  </a:txBody>
                  <a:tcPr marL="45716" marR="45716" marT="45729" marB="45729" anchor="ctr">
                    <a:solidFill>
                      <a:schemeClr val="tx1">
                        <a:lumMod val="50000"/>
                        <a:lumOff val="50000"/>
                      </a:schemeClr>
                    </a:solidFill>
                  </a:tcPr>
                </a:tc>
                <a:tc>
                  <a:txBody>
                    <a:bodyPr/>
                    <a:lstStyle/>
                    <a:p>
                      <a:pPr algn="ctr"/>
                      <a:r>
                        <a:rPr lang="en-US" sz="1800" dirty="0"/>
                        <a:t>Transaction</a:t>
                      </a:r>
                    </a:p>
                  </a:txBody>
                  <a:tcPr marL="45716" marR="45716" marT="45729" marB="45729" anchor="ctr">
                    <a:solidFill>
                      <a:schemeClr val="tx1">
                        <a:lumMod val="50000"/>
                        <a:lumOff val="50000"/>
                      </a:schemeClr>
                    </a:solidFill>
                  </a:tcPr>
                </a:tc>
                <a:tc>
                  <a:txBody>
                    <a:bodyPr/>
                    <a:lstStyle/>
                    <a:p>
                      <a:pPr algn="ctr"/>
                      <a:r>
                        <a:rPr lang="en-US" sz="1800" dirty="0"/>
                        <a:t>Operations</a:t>
                      </a:r>
                    </a:p>
                  </a:txBody>
                  <a:tcPr marL="45716" marR="45716" marT="45729" marB="45729" anchor="ctr">
                    <a:solidFill>
                      <a:schemeClr val="tx1">
                        <a:lumMod val="50000"/>
                        <a:lumOff val="50000"/>
                      </a:schemeClr>
                    </a:solidFill>
                  </a:tcPr>
                </a:tc>
                <a:tc>
                  <a:txBody>
                    <a:bodyPr/>
                    <a:lstStyle/>
                    <a:p>
                      <a:pPr algn="ctr"/>
                      <a:r>
                        <a:rPr lang="en-US" sz="1800" dirty="0"/>
                        <a:t>Intermediary</a:t>
                      </a:r>
                    </a:p>
                  </a:txBody>
                  <a:tcPr marL="45716" marR="45716" marT="45729" marB="45729" anchor="ctr">
                    <a:solidFill>
                      <a:schemeClr val="tx1">
                        <a:lumMod val="50000"/>
                        <a:lumOff val="50000"/>
                      </a:schemeClr>
                    </a:solidFill>
                  </a:tcPr>
                </a:tc>
                <a:tc>
                  <a:txBody>
                    <a:bodyPr/>
                    <a:lstStyle/>
                    <a:p>
                      <a:pPr algn="ctr"/>
                      <a:r>
                        <a:rPr lang="en-US" sz="1800" dirty="0"/>
                        <a:t>Challenges</a:t>
                      </a:r>
                    </a:p>
                  </a:txBody>
                  <a:tcPr marL="45716" marR="45716" marT="45729" marB="45729" anchor="ctr">
                    <a:solidFill>
                      <a:schemeClr val="tx1">
                        <a:lumMod val="50000"/>
                        <a:lumOff val="50000"/>
                      </a:schemeClr>
                    </a:solidFill>
                  </a:tcPr>
                </a:tc>
                <a:extLst>
                  <a:ext uri="{0D108BD9-81ED-4DB2-BD59-A6C34878D82A}">
                    <a16:rowId xmlns:a16="http://schemas.microsoft.com/office/drawing/2014/main" val="10000"/>
                  </a:ext>
                </a:extLst>
              </a:tr>
              <a:tr h="370915">
                <a:tc gridSpan="6">
                  <a:txBody>
                    <a:bodyPr/>
                    <a:lstStyle/>
                    <a:p>
                      <a:r>
                        <a:rPr lang="en-US" sz="1600" b="1" dirty="0">
                          <a:cs typeface="+mn-cs"/>
                        </a:rPr>
                        <a:t>Tangible Assets</a:t>
                      </a:r>
                    </a:p>
                  </a:txBody>
                  <a:tcPr marL="91433" marR="91433" marT="45729" marB="45729" anchor="ctr">
                    <a:lnL w="6350" cap="flat" cmpd="sng" algn="ctr">
                      <a:noFill/>
                      <a:prstDash val="sysDot"/>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dirty="0"/>
                    </a:p>
                  </a:txBody>
                  <a:tcPr anchor="ctr"/>
                </a:tc>
                <a:tc hMerge="1">
                  <a:txBody>
                    <a:bodyPr/>
                    <a:lstStyle/>
                    <a:p>
                      <a:endParaRPr lang="en-US" dirty="0"/>
                    </a:p>
                  </a:txBody>
                  <a:tcPr anchor="ctr"/>
                </a:tc>
                <a:tc hMerge="1">
                  <a:txBody>
                    <a:bodyPr/>
                    <a:lstStyle/>
                    <a:p>
                      <a:endParaRPr lang="en-US" dirty="0"/>
                    </a:p>
                  </a:txBody>
                  <a:tcPr anchor="ctr"/>
                </a:tc>
                <a:extLst>
                  <a:ext uri="{0D108BD9-81ED-4DB2-BD59-A6C34878D82A}">
                    <a16:rowId xmlns:a16="http://schemas.microsoft.com/office/drawing/2014/main" val="10001"/>
                  </a:ext>
                </a:extLst>
              </a:tr>
              <a:tr h="426783">
                <a:tc>
                  <a:txBody>
                    <a:bodyPr/>
                    <a:lstStyle/>
                    <a:p>
                      <a:r>
                        <a:rPr lang="en-US" sz="1400" dirty="0"/>
                        <a:t>House / Property / Plant</a:t>
                      </a:r>
                      <a:endParaRPr lang="en-US" sz="1400" dirty="0">
                        <a:cs typeface="+mn-cs"/>
                      </a:endParaRPr>
                    </a:p>
                  </a:txBody>
                  <a:tcPr marL="91433" marR="91433" marT="45729" marB="45729" anchor="ctr">
                    <a:lnL w="6350" cap="flat" cmpd="sng" algn="ctr">
                      <a:no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tcPr>
                </a:tc>
                <a:tc>
                  <a:txBody>
                    <a:bodyPr/>
                    <a:lstStyle/>
                    <a:p>
                      <a:r>
                        <a:rPr lang="en-US" sz="1400" dirty="0"/>
                        <a:t>Titl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Buy / Sell / Rent </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Registration, Transfer of title, Stamp Duty</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Government</a:t>
                      </a:r>
                      <a:r>
                        <a:rPr lang="en-US" sz="1400" baseline="0" dirty="0"/>
                        <a:t>, Financers</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baseline="0" dirty="0"/>
                        <a:t>Ownership Disputes, Valuation</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B w="635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2"/>
                  </a:ext>
                </a:extLst>
              </a:tr>
              <a:tr h="594445">
                <a:tc>
                  <a:txBody>
                    <a:bodyPr/>
                    <a:lstStyle/>
                    <a:p>
                      <a:r>
                        <a:rPr lang="en-US" sz="1400" dirty="0"/>
                        <a:t>Minerals</a:t>
                      </a:r>
                      <a:r>
                        <a:rPr lang="en-US" sz="1400" baseline="0" dirty="0"/>
                        <a:t> and Precious Metals</a:t>
                      </a:r>
                      <a:endParaRPr lang="en-US" sz="1400" dirty="0">
                        <a:cs typeface="+mn-cs"/>
                      </a:endParaRPr>
                    </a:p>
                  </a:txBody>
                  <a:tcPr marL="91433" marR="91433" marT="45729" marB="45729" anchor="ctr">
                    <a:lnL w="6350" cap="flat" cmpd="sng" algn="ctr">
                      <a:no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tcPr>
                </a:tc>
                <a:tc>
                  <a:txBody>
                    <a:bodyPr/>
                    <a:lstStyle/>
                    <a:p>
                      <a:r>
                        <a:rPr lang="en-US" sz="1400" dirty="0"/>
                        <a:t>Title</a:t>
                      </a:r>
                      <a:r>
                        <a:rPr lang="en-US" sz="1400" baseline="0" dirty="0"/>
                        <a:t> or Contract </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dirty="0"/>
                        <a:t>Buy / Sell / Rent / Pay Per Us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dirty="0"/>
                        <a:t>Authenticity</a:t>
                      </a:r>
                      <a:r>
                        <a:rPr lang="en-US" sz="1400" baseline="0" dirty="0"/>
                        <a:t> Checks, Value Certification, Performance Checks</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dirty="0"/>
                        <a:t>Some Certification Authorities</a:t>
                      </a:r>
                      <a:r>
                        <a:rPr lang="en-US" sz="1400" baseline="0" dirty="0"/>
                        <a:t>, Non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baseline="0" dirty="0"/>
                        <a:t>Provenance, Supply Management, Quality, Regulation</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T w="6350" cap="flat" cmpd="sng" algn="ctr">
                      <a:solidFill>
                        <a:schemeClr val="tx1">
                          <a:lumMod val="50000"/>
                          <a:lumOff val="50000"/>
                        </a:schemeClr>
                      </a:solidFill>
                      <a:prstDash val="sysDot"/>
                      <a:round/>
                      <a:headEnd type="none" w="med" len="med"/>
                      <a:tailEnd type="none" w="med" len="med"/>
                    </a:lnT>
                    <a:solidFill>
                      <a:srgbClr val="FFC000"/>
                    </a:solidFill>
                  </a:tcPr>
                </a:tc>
                <a:extLst>
                  <a:ext uri="{0D108BD9-81ED-4DB2-BD59-A6C34878D82A}">
                    <a16:rowId xmlns:a16="http://schemas.microsoft.com/office/drawing/2014/main" val="10003"/>
                  </a:ext>
                </a:extLst>
              </a:tr>
              <a:tr h="388152">
                <a:tc gridSpan="6">
                  <a:txBody>
                    <a:bodyPr/>
                    <a:lstStyle/>
                    <a:p>
                      <a:r>
                        <a:rPr lang="en-US" sz="1600" b="1" dirty="0">
                          <a:cs typeface="+mn-cs"/>
                        </a:rPr>
                        <a:t>Intangible Assets</a:t>
                      </a:r>
                    </a:p>
                  </a:txBody>
                  <a:tcPr marL="91433" marR="91433" marT="45729" marB="45729" anchor="ctr">
                    <a:lnL w="6350" cap="flat" cmpd="sng" algn="ctr">
                      <a:noFill/>
                      <a:prstDash val="sysDot"/>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dirty="0"/>
                    </a:p>
                  </a:txBody>
                  <a:tcPr anchor="ctr"/>
                </a:tc>
                <a:tc hMerge="1">
                  <a:txBody>
                    <a:bodyPr/>
                    <a:lstStyle/>
                    <a:p>
                      <a:endParaRPr lang="en-US" sz="1200" b="1" dirty="0">
                        <a:cs typeface="+mn-cs"/>
                      </a:endParaRPr>
                    </a:p>
                  </a:txBody>
                  <a:tcPr anchor="ctr"/>
                </a:tc>
                <a:tc hMerge="1">
                  <a:txBody>
                    <a:bodyPr/>
                    <a:lstStyle/>
                    <a:p>
                      <a:endParaRPr lang="en-US" dirty="0"/>
                    </a:p>
                  </a:txBody>
                  <a:tcPr anchor="ctr"/>
                </a:tc>
                <a:extLst>
                  <a:ext uri="{0D108BD9-81ED-4DB2-BD59-A6C34878D82A}">
                    <a16:rowId xmlns:a16="http://schemas.microsoft.com/office/drawing/2014/main" val="10004"/>
                  </a:ext>
                </a:extLst>
              </a:tr>
              <a:tr h="5944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Utilities,</a:t>
                      </a:r>
                      <a:r>
                        <a:rPr lang="en-US" sz="1400" baseline="0" dirty="0">
                          <a:cs typeface="+mn-cs"/>
                        </a:rPr>
                        <a:t> </a:t>
                      </a:r>
                      <a:r>
                        <a:rPr lang="en-US" sz="1400" dirty="0"/>
                        <a:t>Internet, Cloud, Electricity, Gas</a:t>
                      </a:r>
                      <a:endParaRPr lang="en-US" sz="1400" dirty="0">
                        <a:cs typeface="+mn-cs"/>
                      </a:endParaRPr>
                    </a:p>
                  </a:txBody>
                  <a:tcPr marL="91433" marR="91433" marT="45729" marB="45729" anchor="ctr">
                    <a:lnL w="6350" cap="flat" cmpd="sng" algn="ctr">
                      <a:no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tcPr>
                </a:tc>
                <a:tc>
                  <a:txBody>
                    <a:bodyPr/>
                    <a:lstStyle/>
                    <a:p>
                      <a:r>
                        <a:rPr lang="en-US" sz="1400" dirty="0"/>
                        <a:t>Contract</a:t>
                      </a:r>
                      <a:r>
                        <a:rPr lang="en-US" sz="1400" baseline="0" dirty="0"/>
                        <a:t> or SLA</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Rent / Pay per us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Monitoring, Metering and Performance Checks</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Non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B w="6350"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r>
                        <a:rPr lang="en-US" sz="1400" dirty="0"/>
                        <a:t>Invoice</a:t>
                      </a:r>
                      <a:r>
                        <a:rPr lang="en-US" sz="1400" baseline="0" dirty="0"/>
                        <a:t> Disputes, Service Quality, Regulation</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B w="635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0005"/>
                  </a:ext>
                </a:extLst>
              </a:tr>
              <a:tr h="594445">
                <a:tc>
                  <a:txBody>
                    <a:bodyPr/>
                    <a:lstStyle/>
                    <a:p>
                      <a:r>
                        <a:rPr lang="en-US" sz="1400" dirty="0">
                          <a:cs typeface="+mn-cs"/>
                        </a:rPr>
                        <a:t>Personal</a:t>
                      </a:r>
                      <a:r>
                        <a:rPr lang="en-US" sz="1400" baseline="0" dirty="0">
                          <a:cs typeface="+mn-cs"/>
                        </a:rPr>
                        <a:t> Services </a:t>
                      </a:r>
                      <a:r>
                        <a:rPr lang="mr-IN" sz="1400" baseline="0" dirty="0">
                          <a:cs typeface="+mn-cs"/>
                        </a:rPr>
                        <a:t>–</a:t>
                      </a:r>
                      <a:r>
                        <a:rPr lang="en-US" sz="1400" baseline="0" dirty="0">
                          <a:cs typeface="+mn-cs"/>
                        </a:rPr>
                        <a:t> Medical, CA, Insurance</a:t>
                      </a:r>
                      <a:endParaRPr lang="en-US" sz="1400" dirty="0">
                        <a:cs typeface="+mn-cs"/>
                      </a:endParaRPr>
                    </a:p>
                  </a:txBody>
                  <a:tcPr marL="91433" marR="91433" marT="45729" marB="45729" anchor="ctr">
                    <a:lnL w="6350" cap="flat" cmpd="sng" algn="ctr">
                      <a:no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tcPr>
                </a:tc>
                <a:tc>
                  <a:txBody>
                    <a:bodyPr/>
                    <a:lstStyle/>
                    <a:p>
                      <a:r>
                        <a:rPr lang="en-US" sz="1400" dirty="0">
                          <a:cs typeface="+mn-cs"/>
                        </a:rPr>
                        <a:t>Contract or SLA</a:t>
                      </a: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dirty="0">
                          <a:cs typeface="+mn-cs"/>
                        </a:rPr>
                        <a:t>Premium</a:t>
                      </a:r>
                      <a:r>
                        <a:rPr lang="en-US" sz="1400" baseline="0" dirty="0">
                          <a:cs typeface="+mn-cs"/>
                        </a:rPr>
                        <a:t> / Pay per use</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Monitoring, Metering and Performance Checks</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r>
                        <a:rPr lang="en-US" sz="1400" dirty="0">
                          <a:cs typeface="+mn-cs"/>
                        </a:rPr>
                        <a:t>None</a:t>
                      </a: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R w="6350" cap="flat" cmpd="sng" algn="ctr">
                      <a:solidFill>
                        <a:schemeClr val="tx1">
                          <a:lumMod val="50000"/>
                          <a:lumOff val="50000"/>
                        </a:schemeClr>
                      </a:solidFill>
                      <a:prstDash val="sysDot"/>
                      <a:round/>
                      <a:headEnd type="none" w="med" len="med"/>
                      <a:tailEnd type="none" w="med" len="med"/>
                    </a:lnR>
                    <a:lnT w="6350" cap="flat" cmpd="sng" algn="ctr">
                      <a:solidFill>
                        <a:schemeClr val="tx1">
                          <a:lumMod val="50000"/>
                          <a:lumOff val="50000"/>
                        </a:schemeClr>
                      </a:solidFill>
                      <a:prstDash val="sysDot"/>
                      <a:round/>
                      <a:headEnd type="none" w="med" len="med"/>
                      <a:tailEnd type="none" w="med" len="med"/>
                    </a:lnT>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Invoice</a:t>
                      </a:r>
                      <a:r>
                        <a:rPr lang="en-US" sz="1400" baseline="0" dirty="0"/>
                        <a:t> Disputes, Service Quality</a:t>
                      </a:r>
                      <a:endParaRPr lang="en-US" sz="1400" dirty="0">
                        <a:cs typeface="+mn-cs"/>
                      </a:endParaRPr>
                    </a:p>
                  </a:txBody>
                  <a:tcPr marL="45716" marR="45716" marT="45729" marB="45729" anchor="ctr">
                    <a:lnL w="6350" cap="flat" cmpd="sng" algn="ctr">
                      <a:solidFill>
                        <a:schemeClr val="tx1">
                          <a:lumMod val="50000"/>
                          <a:lumOff val="50000"/>
                        </a:schemeClr>
                      </a:solidFill>
                      <a:prstDash val="sysDot"/>
                      <a:round/>
                      <a:headEnd type="none" w="med" len="med"/>
                      <a:tailEnd type="none" w="med" len="med"/>
                    </a:lnL>
                    <a:lnT w="6350" cap="flat" cmpd="sng" algn="ctr">
                      <a:solidFill>
                        <a:schemeClr val="tx1">
                          <a:lumMod val="50000"/>
                          <a:lumOff val="50000"/>
                        </a:schemeClr>
                      </a:solidFill>
                      <a:prstDash val="sysDot"/>
                      <a:round/>
                      <a:headEnd type="none" w="med" len="med"/>
                      <a:tailEnd type="none" w="med" len="med"/>
                    </a:lnT>
                    <a:solidFill>
                      <a:srgbClr val="FFC000"/>
                    </a:solidFill>
                  </a:tcPr>
                </a:tc>
                <a:extLst>
                  <a:ext uri="{0D108BD9-81ED-4DB2-BD59-A6C34878D82A}">
                    <a16:rowId xmlns:a16="http://schemas.microsoft.com/office/drawing/2014/main" val="10006"/>
                  </a:ext>
                </a:extLst>
              </a:tr>
            </a:tbl>
          </a:graphicData>
        </a:graphic>
      </p:graphicFrame>
      <p:sp>
        <p:nvSpPr>
          <p:cNvPr id="29754" name="Rectangle 5"/>
          <p:cNvSpPr>
            <a:spLocks noChangeArrowheads="1"/>
          </p:cNvSpPr>
          <p:nvPr/>
        </p:nvSpPr>
        <p:spPr bwMode="auto">
          <a:xfrm>
            <a:off x="830977" y="5830975"/>
            <a:ext cx="1052282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accent1"/>
                </a:solidFill>
                <a:latin typeface="Arial" charset="0"/>
                <a:ea typeface="Arial" charset="0"/>
                <a:cs typeface="Arial" charset="0"/>
              </a:defRPr>
            </a:lvl1pPr>
            <a:lvl2pPr marL="742950" indent="-285750">
              <a:defRPr sz="1600">
                <a:solidFill>
                  <a:schemeClr val="accent1"/>
                </a:solidFill>
                <a:latin typeface="Arial" charset="0"/>
                <a:ea typeface="Arial" charset="0"/>
                <a:cs typeface="Arial" charset="0"/>
              </a:defRPr>
            </a:lvl2pPr>
            <a:lvl3pPr marL="1143000" indent="-228600">
              <a:defRPr sz="1600">
                <a:solidFill>
                  <a:schemeClr val="accent1"/>
                </a:solidFill>
                <a:latin typeface="Arial" charset="0"/>
                <a:ea typeface="Arial" charset="0"/>
                <a:cs typeface="Arial" charset="0"/>
              </a:defRPr>
            </a:lvl3pPr>
            <a:lvl4pPr marL="1600200" indent="-228600">
              <a:defRPr sz="1600">
                <a:solidFill>
                  <a:schemeClr val="accent1"/>
                </a:solidFill>
                <a:latin typeface="Arial" charset="0"/>
                <a:ea typeface="Arial" charset="0"/>
                <a:cs typeface="Arial" charset="0"/>
              </a:defRPr>
            </a:lvl4pPr>
            <a:lvl5pPr marL="2057400" indent="-228600">
              <a:defRPr sz="1600">
                <a:solidFill>
                  <a:schemeClr val="accent1"/>
                </a:solidFill>
                <a:latin typeface="Arial" charset="0"/>
                <a:ea typeface="Arial" charset="0"/>
                <a:cs typeface="Arial" charset="0"/>
              </a:defRPr>
            </a:lvl5pPr>
            <a:lvl6pPr marL="2514600" indent="-228600" eaLnBrk="0" fontAlgn="base" hangingPunct="0">
              <a:spcBef>
                <a:spcPct val="0"/>
              </a:spcBef>
              <a:spcAft>
                <a:spcPct val="0"/>
              </a:spcAft>
              <a:defRPr sz="1600">
                <a:solidFill>
                  <a:schemeClr val="accent1"/>
                </a:solidFill>
                <a:latin typeface="Arial" charset="0"/>
                <a:ea typeface="Arial" charset="0"/>
                <a:cs typeface="Arial" charset="0"/>
              </a:defRPr>
            </a:lvl6pPr>
            <a:lvl7pPr marL="2971800" indent="-228600" eaLnBrk="0" fontAlgn="base" hangingPunct="0">
              <a:spcBef>
                <a:spcPct val="0"/>
              </a:spcBef>
              <a:spcAft>
                <a:spcPct val="0"/>
              </a:spcAft>
              <a:defRPr sz="1600">
                <a:solidFill>
                  <a:schemeClr val="accent1"/>
                </a:solidFill>
                <a:latin typeface="Arial" charset="0"/>
                <a:ea typeface="Arial" charset="0"/>
                <a:cs typeface="Arial" charset="0"/>
              </a:defRPr>
            </a:lvl7pPr>
            <a:lvl8pPr marL="3429000" indent="-228600" eaLnBrk="0" fontAlgn="base" hangingPunct="0">
              <a:spcBef>
                <a:spcPct val="0"/>
              </a:spcBef>
              <a:spcAft>
                <a:spcPct val="0"/>
              </a:spcAft>
              <a:defRPr sz="1600">
                <a:solidFill>
                  <a:schemeClr val="accent1"/>
                </a:solidFill>
                <a:latin typeface="Arial" charset="0"/>
                <a:ea typeface="Arial" charset="0"/>
                <a:cs typeface="Arial" charset="0"/>
              </a:defRPr>
            </a:lvl8pPr>
            <a:lvl9pPr marL="3886200" indent="-228600" eaLnBrk="0" fontAlgn="base" hangingPunct="0">
              <a:spcBef>
                <a:spcPct val="0"/>
              </a:spcBef>
              <a:spcAft>
                <a:spcPct val="0"/>
              </a:spcAft>
              <a:defRPr sz="1600">
                <a:solidFill>
                  <a:schemeClr val="accent1"/>
                </a:solidFill>
                <a:latin typeface="Arial" charset="0"/>
                <a:ea typeface="Arial" charset="0"/>
                <a:cs typeface="Arial" charset="0"/>
              </a:defRPr>
            </a:lvl9pPr>
          </a:lstStyle>
          <a:p>
            <a:r>
              <a:rPr lang="en-US" altLang="en-US" sz="2000" b="1" dirty="0">
                <a:latin typeface="+mn-lt"/>
              </a:rPr>
              <a:t>Ledger</a:t>
            </a:r>
            <a:r>
              <a:rPr lang="en-US" altLang="en-US" sz="2000" dirty="0">
                <a:latin typeface="+mn-lt"/>
              </a:rPr>
              <a:t> is THE system of record for a business. Business will have multiple ledgers for multiple business networks in which they participate </a:t>
            </a:r>
          </a:p>
        </p:txBody>
      </p:sp>
      <p:cxnSp>
        <p:nvCxnSpPr>
          <p:cNvPr id="8" name="Straight Arrow Connector 7"/>
          <p:cNvCxnSpPr/>
          <p:nvPr/>
        </p:nvCxnSpPr>
        <p:spPr bwMode="auto">
          <a:xfrm>
            <a:off x="2901704" y="1895226"/>
            <a:ext cx="8568000" cy="0"/>
          </a:xfrm>
          <a:prstGeom prst="straightConnector1">
            <a:avLst/>
          </a:prstGeom>
          <a:ln>
            <a:solidFill>
              <a:srgbClr val="FF9300"/>
            </a:solidFill>
            <a:headEnd type="oval" w="med" len="med"/>
            <a:tailEnd type="triangle" w="med" len="med"/>
          </a:ln>
          <a:extLst/>
        </p:spPr>
        <p:style>
          <a:lnRef idx="3">
            <a:schemeClr val="accent4"/>
          </a:lnRef>
          <a:fillRef idx="0">
            <a:schemeClr val="accent4"/>
          </a:fillRef>
          <a:effectRef idx="2">
            <a:schemeClr val="accent4"/>
          </a:effectRef>
          <a:fontRef idx="minor">
            <a:schemeClr val="tx1"/>
          </a:fontRef>
        </p:style>
      </p:cxnSp>
      <p:sp>
        <p:nvSpPr>
          <p:cNvPr id="29757" name="Oval 9"/>
          <p:cNvSpPr>
            <a:spLocks noChangeArrowheads="1"/>
          </p:cNvSpPr>
          <p:nvPr/>
        </p:nvSpPr>
        <p:spPr bwMode="auto">
          <a:xfrm>
            <a:off x="9532936" y="1871294"/>
            <a:ext cx="2049062" cy="3952658"/>
          </a:xfrm>
          <a:prstGeom prst="ellipse">
            <a:avLst/>
          </a:prstGeom>
          <a:noFill/>
          <a:ln w="381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defRPr sz="1600">
                <a:solidFill>
                  <a:schemeClr val="accent1"/>
                </a:solidFill>
                <a:latin typeface="Arial" charset="0"/>
                <a:ea typeface="Arial" charset="0"/>
                <a:cs typeface="Arial" charset="0"/>
              </a:defRPr>
            </a:lvl1pPr>
            <a:lvl2pPr marL="742950" indent="-285750">
              <a:defRPr sz="1600">
                <a:solidFill>
                  <a:schemeClr val="accent1"/>
                </a:solidFill>
                <a:latin typeface="Arial" charset="0"/>
                <a:ea typeface="Arial" charset="0"/>
                <a:cs typeface="Arial" charset="0"/>
              </a:defRPr>
            </a:lvl2pPr>
            <a:lvl3pPr marL="1143000" indent="-228600">
              <a:defRPr sz="1600">
                <a:solidFill>
                  <a:schemeClr val="accent1"/>
                </a:solidFill>
                <a:latin typeface="Arial" charset="0"/>
                <a:ea typeface="Arial" charset="0"/>
                <a:cs typeface="Arial" charset="0"/>
              </a:defRPr>
            </a:lvl3pPr>
            <a:lvl4pPr marL="1600200" indent="-228600">
              <a:defRPr sz="1600">
                <a:solidFill>
                  <a:schemeClr val="accent1"/>
                </a:solidFill>
                <a:latin typeface="Arial" charset="0"/>
                <a:ea typeface="Arial" charset="0"/>
                <a:cs typeface="Arial" charset="0"/>
              </a:defRPr>
            </a:lvl4pPr>
            <a:lvl5pPr marL="2057400" indent="-228600">
              <a:defRPr sz="1600">
                <a:solidFill>
                  <a:schemeClr val="accent1"/>
                </a:solidFill>
                <a:latin typeface="Arial" charset="0"/>
                <a:ea typeface="Arial" charset="0"/>
                <a:cs typeface="Arial" charset="0"/>
              </a:defRPr>
            </a:lvl5pPr>
            <a:lvl6pPr marL="2514600" indent="-228600" eaLnBrk="0" fontAlgn="base" hangingPunct="0">
              <a:spcBef>
                <a:spcPct val="0"/>
              </a:spcBef>
              <a:spcAft>
                <a:spcPct val="0"/>
              </a:spcAft>
              <a:defRPr sz="1600">
                <a:solidFill>
                  <a:schemeClr val="accent1"/>
                </a:solidFill>
                <a:latin typeface="Arial" charset="0"/>
                <a:ea typeface="Arial" charset="0"/>
                <a:cs typeface="Arial" charset="0"/>
              </a:defRPr>
            </a:lvl6pPr>
            <a:lvl7pPr marL="2971800" indent="-228600" eaLnBrk="0" fontAlgn="base" hangingPunct="0">
              <a:spcBef>
                <a:spcPct val="0"/>
              </a:spcBef>
              <a:spcAft>
                <a:spcPct val="0"/>
              </a:spcAft>
              <a:defRPr sz="1600">
                <a:solidFill>
                  <a:schemeClr val="accent1"/>
                </a:solidFill>
                <a:latin typeface="Arial" charset="0"/>
                <a:ea typeface="Arial" charset="0"/>
                <a:cs typeface="Arial" charset="0"/>
              </a:defRPr>
            </a:lvl7pPr>
            <a:lvl8pPr marL="3429000" indent="-228600" eaLnBrk="0" fontAlgn="base" hangingPunct="0">
              <a:spcBef>
                <a:spcPct val="0"/>
              </a:spcBef>
              <a:spcAft>
                <a:spcPct val="0"/>
              </a:spcAft>
              <a:defRPr sz="1600">
                <a:solidFill>
                  <a:schemeClr val="accent1"/>
                </a:solidFill>
                <a:latin typeface="Arial" charset="0"/>
                <a:ea typeface="Arial" charset="0"/>
                <a:cs typeface="Arial" charset="0"/>
              </a:defRPr>
            </a:lvl8pPr>
            <a:lvl9pPr marL="3886200" indent="-228600" eaLnBrk="0" fontAlgn="base" hangingPunct="0">
              <a:spcBef>
                <a:spcPct val="0"/>
              </a:spcBef>
              <a:spcAft>
                <a:spcPct val="0"/>
              </a:spcAft>
              <a:defRPr sz="1600">
                <a:solidFill>
                  <a:schemeClr val="accent1"/>
                </a:solidFill>
                <a:latin typeface="Arial" charset="0"/>
                <a:ea typeface="Arial" charset="0"/>
                <a:cs typeface="Arial" charset="0"/>
              </a:defRPr>
            </a:lvl9pPr>
          </a:lstStyle>
          <a:p>
            <a:pPr eaLnBrk="1" hangingPunct="1"/>
            <a:endParaRPr lang="en-US" altLang="en-US"/>
          </a:p>
        </p:txBody>
      </p:sp>
      <p:sp>
        <p:nvSpPr>
          <p:cNvPr id="7" name="Rectangle 6"/>
          <p:cNvSpPr/>
          <p:nvPr/>
        </p:nvSpPr>
        <p:spPr>
          <a:xfrm>
            <a:off x="838200" y="1454523"/>
            <a:ext cx="10379242" cy="400110"/>
          </a:xfrm>
          <a:prstGeom prst="rect">
            <a:avLst/>
          </a:prstGeom>
        </p:spPr>
        <p:txBody>
          <a:bodyPr wrap="square">
            <a:spAutoFit/>
          </a:bodyPr>
          <a:lstStyle/>
          <a:p>
            <a:r>
              <a:rPr lang="en-US" altLang="en-US" sz="2000" dirty="0">
                <a:solidFill>
                  <a:schemeClr val="accent1"/>
                </a:solidFill>
                <a:ea typeface="Arial" charset="0"/>
                <a:cs typeface="Arial" charset="0"/>
              </a:rPr>
              <a:t>A transaction is a transfer of assets between two parties to build value </a:t>
            </a:r>
            <a:r>
              <a:rPr lang="mr-IN" altLang="en-US" sz="2000" dirty="0">
                <a:solidFill>
                  <a:schemeClr val="accent1"/>
                </a:solidFill>
                <a:ea typeface="Arial" charset="0"/>
                <a:cs typeface="Arial" charset="0"/>
              </a:rPr>
              <a:t>…</a:t>
            </a:r>
            <a:r>
              <a:rPr lang="en-US" altLang="en-US" sz="2000" dirty="0">
                <a:solidFill>
                  <a:schemeClr val="accent1"/>
                </a:solidFill>
                <a:ea typeface="Arial" charset="0"/>
                <a:cs typeface="Arial" charset="0"/>
              </a:rPr>
              <a:t> </a:t>
            </a:r>
          </a:p>
        </p:txBody>
      </p:sp>
      <p:sp>
        <p:nvSpPr>
          <p:cNvPr id="9" name="Slide Number Placeholder 4">
            <a:extLst>
              <a:ext uri="{FF2B5EF4-FFF2-40B4-BE49-F238E27FC236}">
                <a16:creationId xmlns:a16="http://schemas.microsoft.com/office/drawing/2014/main" id="{A30E9EEA-D865-FC42-8D87-C73B38E5E1E6}"/>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4</a:t>
            </a:fld>
            <a:endParaRPr lang="uk-UA" dirty="0"/>
          </a:p>
        </p:txBody>
      </p:sp>
    </p:spTree>
    <p:extLst>
      <p:ext uri="{BB962C8B-B14F-4D97-AF65-F5344CB8AC3E}">
        <p14:creationId xmlns:p14="http://schemas.microsoft.com/office/powerpoint/2010/main" val="1020489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432" y="54936"/>
            <a:ext cx="10515600" cy="1325563"/>
          </a:xfrm>
        </p:spPr>
        <p:txBody>
          <a:bodyPr/>
          <a:lstStyle/>
          <a:p>
            <a:r>
              <a:rPr lang="en-GB" sz="2800" b="1" dirty="0">
                <a:solidFill>
                  <a:srgbClr val="0070C0"/>
                </a:solidFill>
                <a:latin typeface="Arial" panose="020B0604020202020204" pitchFamily="34" charset="0"/>
                <a:cs typeface="Arial" panose="020B0604020202020204" pitchFamily="34" charset="0"/>
              </a:rPr>
              <a:t>What is Blockchain?</a:t>
            </a:r>
          </a:p>
        </p:txBody>
      </p:sp>
      <p:sp>
        <p:nvSpPr>
          <p:cNvPr id="5" name="Slide Number Placeholder 4"/>
          <p:cNvSpPr>
            <a:spLocks noGrp="1"/>
          </p:cNvSpPr>
          <p:nvPr>
            <p:ph type="sldNum" sz="quarter" idx="11"/>
          </p:nvPr>
        </p:nvSpPr>
        <p:spPr>
          <a:xfrm>
            <a:off x="8610600" y="6503830"/>
            <a:ext cx="2743200" cy="365125"/>
          </a:xfrm>
        </p:spPr>
        <p:txBody>
          <a:bodyPr/>
          <a:lstStyle/>
          <a:p>
            <a:fld id="{5714FB1E-E660-F74D-BC29-F339B17ACE97}" type="slidenum">
              <a:rPr lang="uk-UA" smtClean="0"/>
              <a:pPr/>
              <a:t>5</a:t>
            </a:fld>
            <a:endParaRPr lang="uk-UA" dirty="0"/>
          </a:p>
        </p:txBody>
      </p:sp>
      <p:pic>
        <p:nvPicPr>
          <p:cNvPr id="8" name="Content Placeholder 7"/>
          <p:cNvPicPr>
            <a:picLocks noGrp="1" noChangeAspect="1"/>
          </p:cNvPicPr>
          <p:nvPr>
            <p:ph sz="quarter" idx="12"/>
          </p:nvPr>
        </p:nvPicPr>
        <p:blipFill rotWithShape="1">
          <a:blip r:embed="rId3" cstate="screen">
            <a:extLst>
              <a:ext uri="{28A0092B-C50C-407E-A947-70E740481C1C}">
                <a14:useLocalDpi xmlns:a14="http://schemas.microsoft.com/office/drawing/2010/main"/>
              </a:ext>
            </a:extLst>
          </a:blip>
          <a:stretch/>
        </p:blipFill>
        <p:spPr>
          <a:xfrm>
            <a:off x="5625232" y="555786"/>
            <a:ext cx="6059248" cy="3386535"/>
          </a:xfrm>
        </p:spPr>
      </p:pic>
      <p:grpSp>
        <p:nvGrpSpPr>
          <p:cNvPr id="2" name="Group 1"/>
          <p:cNvGrpSpPr/>
          <p:nvPr/>
        </p:nvGrpSpPr>
        <p:grpSpPr>
          <a:xfrm>
            <a:off x="484319" y="3940300"/>
            <a:ext cx="11210053" cy="1619881"/>
            <a:chOff x="363239" y="3166426"/>
            <a:chExt cx="8407540" cy="1426369"/>
          </a:xfrm>
        </p:grpSpPr>
        <p:sp>
          <p:nvSpPr>
            <p:cNvPr id="12" name="Rectangle 11"/>
            <p:cNvSpPr/>
            <p:nvPr/>
          </p:nvSpPr>
          <p:spPr>
            <a:xfrm>
              <a:off x="363240" y="3506904"/>
              <a:ext cx="2047010" cy="28803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r>
                <a:rPr lang="en-GB" sz="1600" b="1" dirty="0">
                  <a:solidFill>
                    <a:schemeClr val="tx2"/>
                  </a:solidFill>
                  <a:latin typeface="Arial"/>
                  <a:ea typeface="Arial"/>
                  <a:cs typeface="Arial"/>
                  <a:sym typeface="Arial"/>
                </a:rPr>
                <a:t>Consensus</a:t>
              </a:r>
            </a:p>
          </p:txBody>
        </p:sp>
        <p:sp>
          <p:nvSpPr>
            <p:cNvPr id="13" name="Rectangle 12"/>
            <p:cNvSpPr/>
            <p:nvPr/>
          </p:nvSpPr>
          <p:spPr>
            <a:xfrm>
              <a:off x="2485689" y="3506904"/>
              <a:ext cx="2048064" cy="28803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r>
                <a:rPr lang="en-GB" sz="1600" b="1" dirty="0">
                  <a:solidFill>
                    <a:schemeClr val="tx2"/>
                  </a:solidFill>
                  <a:latin typeface="Arial"/>
                  <a:ea typeface="Arial"/>
                  <a:cs typeface="Arial"/>
                  <a:sym typeface="Arial"/>
                </a:rPr>
                <a:t>Provenance</a:t>
              </a:r>
            </a:p>
          </p:txBody>
        </p:sp>
        <p:sp>
          <p:nvSpPr>
            <p:cNvPr id="14" name="Rectangle 13"/>
            <p:cNvSpPr/>
            <p:nvPr/>
          </p:nvSpPr>
          <p:spPr>
            <a:xfrm>
              <a:off x="4600266" y="3506904"/>
              <a:ext cx="2052000" cy="28803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r>
                <a:rPr lang="en-GB" sz="1600" b="1" dirty="0">
                  <a:solidFill>
                    <a:schemeClr val="tx2"/>
                  </a:solidFill>
                  <a:latin typeface="Arial"/>
                  <a:ea typeface="Arial"/>
                  <a:cs typeface="Arial"/>
                  <a:sym typeface="Arial"/>
                </a:rPr>
                <a:t>Immutability</a:t>
              </a:r>
            </a:p>
          </p:txBody>
        </p:sp>
        <p:sp>
          <p:nvSpPr>
            <p:cNvPr id="15" name="Rectangle 14"/>
            <p:cNvSpPr/>
            <p:nvPr/>
          </p:nvSpPr>
          <p:spPr>
            <a:xfrm>
              <a:off x="6718778" y="3506904"/>
              <a:ext cx="2052000" cy="28803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r>
                <a:rPr lang="en-GB" sz="1600" b="1" dirty="0">
                  <a:solidFill>
                    <a:schemeClr val="tx2"/>
                  </a:solidFill>
                  <a:latin typeface="Arial"/>
                  <a:ea typeface="Arial"/>
                  <a:cs typeface="Arial"/>
                  <a:sym typeface="Arial"/>
                </a:rPr>
                <a:t>Finality</a:t>
              </a:r>
            </a:p>
          </p:txBody>
        </p:sp>
        <p:sp>
          <p:nvSpPr>
            <p:cNvPr id="18" name="TextBox 17"/>
            <p:cNvSpPr txBox="1"/>
            <p:nvPr/>
          </p:nvSpPr>
          <p:spPr>
            <a:xfrm>
              <a:off x="363239" y="3166426"/>
              <a:ext cx="8407539" cy="267520"/>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96000" tIns="0" rIns="0" bIns="0" numCol="1" spcCol="38100" rtlCol="0" anchor="ctr">
              <a:noAutofit/>
            </a:bodyPr>
            <a:lstStyle/>
            <a:p>
              <a:pPr defTabSz="623360" hangingPunct="0"/>
              <a:r>
                <a:rPr lang="en-GB" sz="1600" b="1" dirty="0">
                  <a:solidFill>
                    <a:schemeClr val="tx2"/>
                  </a:solidFill>
                </a:rPr>
                <a:t>A</a:t>
              </a:r>
              <a:r>
                <a:rPr lang="en-GB" sz="1600" b="1" dirty="0">
                  <a:solidFill>
                    <a:schemeClr val="tx2"/>
                  </a:solidFill>
                  <a:sym typeface="Arial"/>
                </a:rPr>
                <a:t>chieved through:</a:t>
              </a:r>
            </a:p>
          </p:txBody>
        </p:sp>
        <p:sp>
          <p:nvSpPr>
            <p:cNvPr id="19" name="Rectangle 18"/>
            <p:cNvSpPr/>
            <p:nvPr/>
          </p:nvSpPr>
          <p:spPr>
            <a:xfrm>
              <a:off x="363239" y="3792093"/>
              <a:ext cx="2047011" cy="80070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a:r>
                <a:rPr lang="en-US" sz="1333" dirty="0">
                  <a:solidFill>
                    <a:schemeClr val="tx2"/>
                  </a:solidFill>
                </a:rPr>
                <a:t>All participants agree that a transaction is valid. </a:t>
              </a:r>
              <a:endParaRPr lang="en-GB" sz="1333" dirty="0">
                <a:solidFill>
                  <a:schemeClr val="tx2"/>
                </a:solidFill>
              </a:endParaRPr>
            </a:p>
          </p:txBody>
        </p:sp>
        <p:sp>
          <p:nvSpPr>
            <p:cNvPr id="20" name="Rectangle 19"/>
            <p:cNvSpPr/>
            <p:nvPr/>
          </p:nvSpPr>
          <p:spPr>
            <a:xfrm>
              <a:off x="2485690" y="3792093"/>
              <a:ext cx="2048064" cy="80070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a:r>
                <a:rPr lang="en-US" sz="1333">
                  <a:solidFill>
                    <a:schemeClr val="tx2"/>
                  </a:solidFill>
                </a:rPr>
                <a:t>Participants know where the asset came from and how its ownership has changed over time.</a:t>
              </a:r>
              <a:endParaRPr lang="en-GB" sz="1333" dirty="0">
                <a:solidFill>
                  <a:schemeClr val="tx2"/>
                </a:solidFill>
              </a:endParaRPr>
            </a:p>
          </p:txBody>
        </p:sp>
        <p:sp>
          <p:nvSpPr>
            <p:cNvPr id="21" name="Rectangle 20"/>
            <p:cNvSpPr/>
            <p:nvPr/>
          </p:nvSpPr>
          <p:spPr>
            <a:xfrm>
              <a:off x="4605257" y="3792093"/>
              <a:ext cx="2047009" cy="80070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a:r>
                <a:rPr lang="en-US" sz="1333" dirty="0">
                  <a:solidFill>
                    <a:schemeClr val="tx2"/>
                  </a:solidFill>
                </a:rPr>
                <a:t>No participant can tamper with a transaction once complete. If a transaction was in error, a new is needed to make a correction.</a:t>
              </a:r>
              <a:endParaRPr lang="en-GB" sz="1333" dirty="0">
                <a:solidFill>
                  <a:schemeClr val="tx2"/>
                </a:solidFill>
              </a:endParaRPr>
            </a:p>
          </p:txBody>
        </p:sp>
        <p:sp>
          <p:nvSpPr>
            <p:cNvPr id="22" name="Rectangle 21"/>
            <p:cNvSpPr/>
            <p:nvPr/>
          </p:nvSpPr>
          <p:spPr>
            <a:xfrm>
              <a:off x="6718779" y="3792093"/>
              <a:ext cx="2052000" cy="800702"/>
            </a:xfrm>
            <a:prstGeom prst="rect">
              <a:avLst/>
            </a:prstGeom>
            <a:solidFill>
              <a:schemeClr val="accent4"/>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a:r>
                <a:rPr lang="en-US" sz="1333">
                  <a:solidFill>
                    <a:schemeClr val="tx2"/>
                  </a:solidFill>
                </a:rPr>
                <a:t>There is one place to determine the ownership of an asset or completion of a transaction. </a:t>
              </a:r>
              <a:r>
                <a:rPr lang="en-US" sz="1333" dirty="0">
                  <a:solidFill>
                    <a:schemeClr val="tx2"/>
                  </a:solidFill>
                </a:rPr>
                <a:t>This is the role of the shared ledger.</a:t>
              </a:r>
              <a:endParaRPr lang="en-GB" sz="1333" dirty="0">
                <a:solidFill>
                  <a:schemeClr val="tx2"/>
                </a:solidFill>
              </a:endParaRPr>
            </a:p>
          </p:txBody>
        </p:sp>
      </p:grpSp>
      <p:grpSp>
        <p:nvGrpSpPr>
          <p:cNvPr id="25" name="Group 24"/>
          <p:cNvGrpSpPr/>
          <p:nvPr/>
        </p:nvGrpSpPr>
        <p:grpSpPr>
          <a:xfrm>
            <a:off x="484320" y="1376488"/>
            <a:ext cx="3620321" cy="2581415"/>
            <a:chOff x="363239" y="986988"/>
            <a:chExt cx="2715241" cy="1936061"/>
          </a:xfrm>
        </p:grpSpPr>
        <p:sp>
          <p:nvSpPr>
            <p:cNvPr id="26" name="Rectangle 25"/>
            <p:cNvSpPr/>
            <p:nvPr/>
          </p:nvSpPr>
          <p:spPr>
            <a:xfrm>
              <a:off x="369328" y="986988"/>
              <a:ext cx="2709152" cy="740220"/>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noAutofit/>
            </a:bodyPr>
            <a:lstStyle/>
            <a:p>
              <a:pPr defTabSz="623360" hangingPunct="0"/>
              <a:r>
                <a:rPr lang="en-GB" sz="3200" b="1" dirty="0">
                  <a:solidFill>
                    <a:schemeClr val="tx2"/>
                  </a:solidFill>
                  <a:latin typeface="Arial"/>
                  <a:ea typeface="Arial"/>
                  <a:cs typeface="Arial"/>
                  <a:sym typeface="Arial"/>
                </a:rPr>
                <a:t>One “shared” business reality </a:t>
              </a:r>
              <a:r>
                <a:rPr lang="mr-IN" sz="3200" b="1" dirty="0">
                  <a:solidFill>
                    <a:schemeClr val="tx2"/>
                  </a:solidFill>
                  <a:latin typeface="Arial"/>
                  <a:ea typeface="Arial"/>
                  <a:cs typeface="Arial"/>
                  <a:sym typeface="Arial"/>
                </a:rPr>
                <a:t>…</a:t>
              </a:r>
              <a:endParaRPr lang="en-GB" sz="3200" b="1" dirty="0">
                <a:solidFill>
                  <a:schemeClr val="tx2"/>
                </a:solidFill>
                <a:latin typeface="Arial"/>
                <a:ea typeface="Arial"/>
                <a:cs typeface="Arial"/>
                <a:sym typeface="Arial"/>
              </a:endParaRPr>
            </a:p>
          </p:txBody>
        </p:sp>
        <p:sp>
          <p:nvSpPr>
            <p:cNvPr id="28" name="Rectangle 27"/>
            <p:cNvSpPr/>
            <p:nvPr/>
          </p:nvSpPr>
          <p:spPr>
            <a:xfrm>
              <a:off x="363239" y="1803408"/>
              <a:ext cx="2715241" cy="1119641"/>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noAutofit/>
            </a:bodyPr>
            <a:lstStyle/>
            <a:p>
              <a:r>
                <a:rPr lang="mr-IN" sz="1600" dirty="0">
                  <a:solidFill>
                    <a:schemeClr val="tx2"/>
                  </a:solidFill>
                  <a:sym typeface="Arial"/>
                </a:rPr>
                <a:t>…</a:t>
              </a:r>
              <a:r>
                <a:rPr lang="en-GB" sz="1600" dirty="0">
                  <a:solidFill>
                    <a:schemeClr val="tx2"/>
                  </a:solidFill>
                  <a:sym typeface="Arial"/>
                </a:rPr>
                <a:t> allowing </a:t>
              </a:r>
              <a:r>
                <a:rPr lang="en-GB" sz="1600" dirty="0">
                  <a:solidFill>
                    <a:schemeClr val="tx2"/>
                  </a:solidFill>
                </a:rPr>
                <a:t>m</a:t>
              </a:r>
              <a:r>
                <a:rPr lang="en-GB" sz="1600" dirty="0">
                  <a:solidFill>
                    <a:schemeClr val="tx2"/>
                  </a:solidFill>
                  <a:sym typeface="Arial"/>
                </a:rPr>
                <a:t>ultiple and diverse business parties </a:t>
              </a:r>
              <a:r>
                <a:rPr lang="en-GB" sz="1600" dirty="0">
                  <a:solidFill>
                    <a:schemeClr val="tx2"/>
                  </a:solidFill>
                </a:rPr>
                <a:t>to transact with </a:t>
              </a:r>
              <a:r>
                <a:rPr lang="en-GB" sz="1600" b="1" dirty="0">
                  <a:solidFill>
                    <a:schemeClr val="tx2"/>
                  </a:solidFill>
                </a:rPr>
                <a:t>trust</a:t>
              </a:r>
              <a:r>
                <a:rPr lang="en-GB" sz="1600" dirty="0">
                  <a:solidFill>
                    <a:schemeClr val="tx2"/>
                  </a:solidFill>
                </a:rPr>
                <a:t> guaranteed through cryptographic security, automated consensus, and shared yet distributed standards.</a:t>
              </a:r>
              <a:endParaRPr lang="en-GB" sz="1600" dirty="0">
                <a:solidFill>
                  <a:schemeClr val="tx2"/>
                </a:solidFill>
                <a:sym typeface="Arial"/>
              </a:endParaRPr>
            </a:p>
          </p:txBody>
        </p:sp>
      </p:grpSp>
      <p:sp>
        <p:nvSpPr>
          <p:cNvPr id="23" name="Right Arrow 22"/>
          <p:cNvSpPr/>
          <p:nvPr/>
        </p:nvSpPr>
        <p:spPr>
          <a:xfrm>
            <a:off x="4735441" y="1505722"/>
            <a:ext cx="193912" cy="2027980"/>
          </a:xfrm>
          <a:prstGeom prst="rightArrow">
            <a:avLst>
              <a:gd name="adj1" fmla="val 50000"/>
              <a:gd name="adj2" fmla="val 201887"/>
            </a:avLst>
          </a:prstGeom>
          <a:solidFill>
            <a:schemeClr val="bg1">
              <a:lumMod val="8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endParaRPr lang="en-GB" sz="1333">
              <a:solidFill>
                <a:schemeClr val="bg1"/>
              </a:solidFill>
              <a:latin typeface="Arial"/>
              <a:ea typeface="Arial"/>
              <a:cs typeface="Arial"/>
              <a:sym typeface="Arial"/>
            </a:endParaRPr>
          </a:p>
        </p:txBody>
      </p:sp>
      <p:grpSp>
        <p:nvGrpSpPr>
          <p:cNvPr id="24" name="Group 23">
            <a:extLst>
              <a:ext uri="{FF2B5EF4-FFF2-40B4-BE49-F238E27FC236}">
                <a16:creationId xmlns:a16="http://schemas.microsoft.com/office/drawing/2014/main" id="{2C358CE1-937D-1246-A7E8-6DA09F32BC05}"/>
              </a:ext>
            </a:extLst>
          </p:cNvPr>
          <p:cNvGrpSpPr>
            <a:grpSpLocks noChangeAspect="1"/>
          </p:cNvGrpSpPr>
          <p:nvPr/>
        </p:nvGrpSpPr>
        <p:grpSpPr>
          <a:xfrm>
            <a:off x="4581610" y="388747"/>
            <a:ext cx="7122100" cy="3510125"/>
            <a:chOff x="2903838" y="272944"/>
            <a:chExt cx="5875732" cy="2895853"/>
          </a:xfrm>
        </p:grpSpPr>
        <p:grpSp>
          <p:nvGrpSpPr>
            <p:cNvPr id="7" name="Group 6"/>
            <p:cNvGrpSpPr/>
            <p:nvPr/>
          </p:nvGrpSpPr>
          <p:grpSpPr>
            <a:xfrm>
              <a:off x="3701465" y="1137101"/>
              <a:ext cx="3440244" cy="1127002"/>
              <a:chOff x="1720062" y="1205275"/>
              <a:chExt cx="3440244" cy="1127002"/>
            </a:xfrm>
          </p:grpSpPr>
          <p:sp>
            <p:nvSpPr>
              <p:cNvPr id="54" name="Content Placeholder 6"/>
              <p:cNvSpPr txBox="1">
                <a:spLocks noChangeAspect="1"/>
              </p:cNvSpPr>
              <p:nvPr/>
            </p:nvSpPr>
            <p:spPr>
              <a:xfrm>
                <a:off x="3293700" y="1205275"/>
                <a:ext cx="1866606" cy="1127002"/>
              </a:xfrm>
              <a:prstGeom prst="ellipse">
                <a:avLst/>
              </a:prstGeom>
              <a:solidFill>
                <a:schemeClr val="bg1"/>
              </a:solidFill>
            </p:spPr>
            <p:txBody>
              <a:bodyPr vert="horz" wrap="none" lIns="0" tIns="0" rIns="0" bIns="0" rtlCol="0" anchor="ctr">
                <a:noAutofit/>
              </a:bodyPr>
              <a:lstStyle>
                <a:lvl1pPr marL="0" marR="0" indent="0" algn="l" defTabSz="914400" rtl="0" eaLnBrk="1" latinLnBrk="0" hangingPunct="1">
                  <a:lnSpc>
                    <a:spcPct val="100000"/>
                  </a:lnSpc>
                  <a:spcBef>
                    <a:spcPts val="300"/>
                  </a:spcBef>
                  <a:spcAft>
                    <a:spcPts val="300"/>
                  </a:spcAft>
                  <a:buClrTx/>
                  <a:buSzTx/>
                  <a:buFontTx/>
                  <a:buNone/>
                  <a:tabLst/>
                  <a:defRPr sz="1200" b="0" i="0" u="none" strike="noStrike" cap="none" spc="0" baseline="0">
                    <a:ln>
                      <a:noFill/>
                    </a:ln>
                    <a:solidFill>
                      <a:schemeClr val="tx2"/>
                    </a:solidFill>
                    <a:uFillTx/>
                    <a:latin typeface="Arial" charset="0"/>
                    <a:ea typeface="Arial" charset="0"/>
                    <a:cs typeface="Arial" charset="0"/>
                    <a:sym typeface="Arial"/>
                  </a:defRPr>
                </a:lvl1pPr>
                <a:lvl2pPr marL="177800" marR="0" indent="-169862" algn="l" defTabSz="914400" rtl="0" eaLnBrk="1" latinLnBrk="0" hangingPunct="1">
                  <a:lnSpc>
                    <a:spcPct val="100000"/>
                  </a:lnSpc>
                  <a:spcBef>
                    <a:spcPts val="300"/>
                  </a:spcBef>
                  <a:spcAft>
                    <a:spcPts val="300"/>
                  </a:spcAft>
                  <a:buClrTx/>
                  <a:buSzPct val="100000"/>
                  <a:buFontTx/>
                  <a:buChar char="•"/>
                  <a:tabLst/>
                  <a:defRPr sz="1200" b="0" i="0" u="none" strike="noStrike" cap="none" spc="0" baseline="0">
                    <a:ln>
                      <a:noFill/>
                    </a:ln>
                    <a:solidFill>
                      <a:schemeClr val="tx2"/>
                    </a:solidFill>
                    <a:uFillTx/>
                    <a:latin typeface="Arial" charset="0"/>
                    <a:ea typeface="Arial" charset="0"/>
                    <a:cs typeface="Arial" charset="0"/>
                    <a:sym typeface="Arial"/>
                  </a:defRPr>
                </a:lvl2pPr>
                <a:lvl3pPr marL="367241" marR="0" indent="-148166" algn="l" defTabSz="914400" rtl="0" eaLnBrk="1" latinLnBrk="0" hangingPunct="1">
                  <a:lnSpc>
                    <a:spcPct val="100000"/>
                  </a:lnSpc>
                  <a:spcBef>
                    <a:spcPts val="300"/>
                  </a:spcBef>
                  <a:spcAft>
                    <a:spcPts val="300"/>
                  </a:spcAft>
                  <a:buClrTx/>
                  <a:buSzPct val="100000"/>
                  <a:buFontTx/>
                  <a:buChar char="•"/>
                  <a:tabLst/>
                  <a:defRPr sz="1200" b="0" i="0" u="none" strike="noStrike" cap="none" spc="0" baseline="0">
                    <a:ln>
                      <a:noFill/>
                    </a:ln>
                    <a:solidFill>
                      <a:schemeClr val="tx2"/>
                    </a:solidFill>
                    <a:uFillTx/>
                    <a:latin typeface="Arial" charset="0"/>
                    <a:ea typeface="Arial" charset="0"/>
                    <a:cs typeface="Arial" charset="0"/>
                    <a:sym typeface="Arial"/>
                  </a:defRPr>
                </a:lvl3pPr>
                <a:lvl4pPr marL="706119" marR="0" indent="-248919" algn="l" defTabSz="914400" rtl="0" eaLnBrk="1" latinLnBrk="0" hangingPunct="1">
                  <a:lnSpc>
                    <a:spcPct val="100000"/>
                  </a:lnSpc>
                  <a:spcBef>
                    <a:spcPts val="300"/>
                  </a:spcBef>
                  <a:spcAft>
                    <a:spcPts val="300"/>
                  </a:spcAft>
                  <a:buClrTx/>
                  <a:buSzPct val="100000"/>
                  <a:buFontTx/>
                  <a:buChar char="•"/>
                  <a:tabLst/>
                  <a:defRPr sz="1200" b="0" i="0" u="none" strike="noStrike" cap="none" spc="0" baseline="0">
                    <a:ln>
                      <a:noFill/>
                    </a:ln>
                    <a:solidFill>
                      <a:schemeClr val="tx2"/>
                    </a:solidFill>
                    <a:uFillTx/>
                    <a:latin typeface="Arial" charset="0"/>
                    <a:ea typeface="Arial" charset="0"/>
                    <a:cs typeface="Arial" charset="0"/>
                    <a:sym typeface="Arial"/>
                  </a:defRPr>
                </a:lvl4pPr>
                <a:lvl5pPr marL="934719" marR="0" indent="-248919" algn="l" defTabSz="914400" rtl="0" eaLnBrk="1" latinLnBrk="0" hangingPunct="1">
                  <a:lnSpc>
                    <a:spcPct val="100000"/>
                  </a:lnSpc>
                  <a:spcBef>
                    <a:spcPts val="300"/>
                  </a:spcBef>
                  <a:spcAft>
                    <a:spcPts val="300"/>
                  </a:spcAft>
                  <a:buClrTx/>
                  <a:buSzPct val="100000"/>
                  <a:buFontTx/>
                  <a:buChar char="•"/>
                  <a:tabLst/>
                  <a:defRPr sz="1200" b="0" i="0" u="none" strike="noStrike" cap="none" spc="0" baseline="0">
                    <a:ln>
                      <a:noFill/>
                    </a:ln>
                    <a:solidFill>
                      <a:schemeClr val="tx2"/>
                    </a:solidFill>
                    <a:uFillTx/>
                    <a:latin typeface="Arial" charset="0"/>
                    <a:ea typeface="Arial" charset="0"/>
                    <a:cs typeface="Arial" charset="0"/>
                    <a:sym typeface="Arial"/>
                  </a:defRPr>
                </a:lvl5pPr>
                <a:lvl6pPr marL="2463800" marR="0" indent="-177800" algn="l" defTabSz="914400" rtl="0" eaLnBrk="1" latinLnBrk="0" hangingPunct="1">
                  <a:lnSpc>
                    <a:spcPct val="90000"/>
                  </a:lnSpc>
                  <a:spcBef>
                    <a:spcPts val="1000"/>
                  </a:spcBef>
                  <a:spcAft>
                    <a:spcPts val="0"/>
                  </a:spcAft>
                  <a:buClrTx/>
                  <a:buSzPct val="100000"/>
                  <a:buFontTx/>
                  <a:buChar char="•"/>
                  <a:tabLst/>
                  <a:defRPr sz="1400" b="0" i="0" u="none" strike="noStrike" cap="none" spc="0" baseline="0">
                    <a:ln>
                      <a:noFill/>
                    </a:ln>
                    <a:solidFill>
                      <a:srgbClr val="000000"/>
                    </a:solidFill>
                    <a:uFillTx/>
                    <a:latin typeface="Arial"/>
                    <a:ea typeface="Arial"/>
                    <a:cs typeface="Arial"/>
                    <a:sym typeface="Arial"/>
                  </a:defRPr>
                </a:lvl6pPr>
                <a:lvl7pPr marL="2921000" marR="0" indent="-177800" algn="l" defTabSz="914400" rtl="0" eaLnBrk="1" latinLnBrk="0" hangingPunct="1">
                  <a:lnSpc>
                    <a:spcPct val="90000"/>
                  </a:lnSpc>
                  <a:spcBef>
                    <a:spcPts val="1000"/>
                  </a:spcBef>
                  <a:spcAft>
                    <a:spcPts val="0"/>
                  </a:spcAft>
                  <a:buClrTx/>
                  <a:buSzPct val="100000"/>
                  <a:buFontTx/>
                  <a:buChar char="•"/>
                  <a:tabLst/>
                  <a:defRPr sz="1400" b="0" i="0" u="none" strike="noStrike" cap="none" spc="0" baseline="0">
                    <a:ln>
                      <a:noFill/>
                    </a:ln>
                    <a:solidFill>
                      <a:srgbClr val="000000"/>
                    </a:solidFill>
                    <a:uFillTx/>
                    <a:latin typeface="Arial"/>
                    <a:ea typeface="Arial"/>
                    <a:cs typeface="Arial"/>
                    <a:sym typeface="Arial"/>
                  </a:defRPr>
                </a:lvl7pPr>
                <a:lvl8pPr marL="3378200" marR="0" indent="-177800" algn="l" defTabSz="914400" rtl="0" eaLnBrk="1" latinLnBrk="0" hangingPunct="1">
                  <a:lnSpc>
                    <a:spcPct val="90000"/>
                  </a:lnSpc>
                  <a:spcBef>
                    <a:spcPts val="1000"/>
                  </a:spcBef>
                  <a:spcAft>
                    <a:spcPts val="0"/>
                  </a:spcAft>
                  <a:buClrTx/>
                  <a:buSzPct val="100000"/>
                  <a:buFontTx/>
                  <a:buChar char="•"/>
                  <a:tabLst/>
                  <a:defRPr sz="1400" b="0" i="0" u="none" strike="noStrike" cap="none" spc="0" baseline="0">
                    <a:ln>
                      <a:noFill/>
                    </a:ln>
                    <a:solidFill>
                      <a:srgbClr val="000000"/>
                    </a:solidFill>
                    <a:uFillTx/>
                    <a:latin typeface="Arial"/>
                    <a:ea typeface="Arial"/>
                    <a:cs typeface="Arial"/>
                    <a:sym typeface="Arial"/>
                  </a:defRPr>
                </a:lvl8pPr>
                <a:lvl9pPr marL="3835400" marR="0" indent="-177800" algn="l" defTabSz="914400" rtl="0" eaLnBrk="1" latinLnBrk="0" hangingPunct="1">
                  <a:lnSpc>
                    <a:spcPct val="90000"/>
                  </a:lnSpc>
                  <a:spcBef>
                    <a:spcPts val="1000"/>
                  </a:spcBef>
                  <a:spcAft>
                    <a:spcPts val="0"/>
                  </a:spcAft>
                  <a:buClrTx/>
                  <a:buSzPct val="100000"/>
                  <a:buFontTx/>
                  <a:buChar char="•"/>
                  <a:tabLst/>
                  <a:defRPr sz="1400" b="0" i="0" u="none" strike="noStrike" cap="none" spc="0" baseline="0">
                    <a:ln>
                      <a:noFill/>
                    </a:ln>
                    <a:solidFill>
                      <a:srgbClr val="000000"/>
                    </a:solidFill>
                    <a:uFillTx/>
                    <a:latin typeface="Arial"/>
                    <a:ea typeface="Arial"/>
                    <a:cs typeface="Arial"/>
                    <a:sym typeface="Arial"/>
                  </a:defRPr>
                </a:lvl9pPr>
              </a:lstStyle>
              <a:p>
                <a:pPr algn="ctr">
                  <a:spcBef>
                    <a:spcPts val="0"/>
                  </a:spcBef>
                  <a:spcAft>
                    <a:spcPts val="0"/>
                  </a:spcAft>
                </a:pPr>
                <a:r>
                  <a:rPr lang="mr-IN" dirty="0"/>
                  <a:t>…</a:t>
                </a:r>
                <a:r>
                  <a:rPr lang="en-GB" dirty="0"/>
                  <a:t> leveraging </a:t>
                </a:r>
                <a:r>
                  <a:rPr lang="en-GB" sz="1333" b="1" dirty="0"/>
                  <a:t>Trusted,</a:t>
                </a:r>
                <a:br>
                  <a:rPr lang="en-GB" sz="1333" b="1" dirty="0"/>
                </a:br>
                <a:r>
                  <a:rPr lang="en-GB" sz="1333" b="1" dirty="0"/>
                  <a:t>Transparent, Cross-</a:t>
                </a:r>
              </a:p>
              <a:p>
                <a:pPr algn="ctr">
                  <a:spcBef>
                    <a:spcPts val="0"/>
                  </a:spcBef>
                  <a:spcAft>
                    <a:spcPts val="0"/>
                  </a:spcAft>
                </a:pPr>
                <a:r>
                  <a:rPr lang="en-GB" sz="1333" b="1" dirty="0"/>
                  <a:t>company business</a:t>
                </a:r>
              </a:p>
              <a:p>
                <a:pPr algn="ctr">
                  <a:spcBef>
                    <a:spcPts val="0"/>
                  </a:spcBef>
                  <a:spcAft>
                    <a:spcPts val="0"/>
                  </a:spcAft>
                </a:pPr>
                <a:r>
                  <a:rPr lang="en-GB" sz="1333" b="1" dirty="0"/>
                  <a:t>processes</a:t>
                </a:r>
                <a:r>
                  <a:rPr lang="en-GB" dirty="0"/>
                  <a:t> built on</a:t>
                </a:r>
              </a:p>
              <a:p>
                <a:pPr algn="ctr">
                  <a:spcBef>
                    <a:spcPts val="0"/>
                  </a:spcBef>
                  <a:spcAft>
                    <a:spcPts val="0"/>
                  </a:spcAft>
                </a:pPr>
                <a:r>
                  <a:rPr lang="en-GB" dirty="0"/>
                  <a:t>a Blockchain network.</a:t>
                </a:r>
              </a:p>
            </p:txBody>
          </p:sp>
          <p:sp>
            <p:nvSpPr>
              <p:cNvPr id="3" name="Rectangle 2"/>
              <p:cNvSpPr/>
              <p:nvPr/>
            </p:nvSpPr>
            <p:spPr>
              <a:xfrm rot="1156547">
                <a:off x="1720062" y="1812188"/>
                <a:ext cx="160020" cy="402041"/>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endParaRPr lang="en-GB" sz="1333">
                  <a:solidFill>
                    <a:schemeClr val="bg1"/>
                  </a:solidFill>
                  <a:latin typeface="Arial"/>
                  <a:ea typeface="Arial"/>
                  <a:cs typeface="Arial"/>
                  <a:sym typeface="Arial"/>
                </a:endParaRPr>
              </a:p>
            </p:txBody>
          </p:sp>
        </p:grpSp>
        <p:sp>
          <p:nvSpPr>
            <p:cNvPr id="10" name="Rectangle 9"/>
            <p:cNvSpPr/>
            <p:nvPr/>
          </p:nvSpPr>
          <p:spPr>
            <a:xfrm>
              <a:off x="2903838" y="2483224"/>
              <a:ext cx="1997999" cy="685573"/>
            </a:xfrm>
            <a:prstGeom prst="rect">
              <a:avLst/>
            </a:prstGeom>
          </p:spPr>
          <p:txBody>
            <a:bodyPr wrap="none">
              <a:spAutoFit/>
            </a:bodyPr>
            <a:lstStyle/>
            <a:p>
              <a:r>
                <a:rPr lang="en-GB" sz="2400" dirty="0"/>
                <a:t>An example of an </a:t>
              </a:r>
              <a:br>
                <a:rPr lang="en-GB" sz="2400" dirty="0"/>
              </a:br>
              <a:r>
                <a:rPr lang="en-GB" sz="2400" dirty="0"/>
                <a:t>ecosystem </a:t>
              </a:r>
              <a:r>
                <a:rPr lang="mr-IN" sz="2400" dirty="0"/>
                <a:t>…</a:t>
              </a:r>
              <a:endParaRPr lang="en-GB" sz="2400" dirty="0"/>
            </a:p>
          </p:txBody>
        </p:sp>
        <p:sp>
          <p:nvSpPr>
            <p:cNvPr id="4" name="Rectangle 3">
              <a:extLst>
                <a:ext uri="{FF2B5EF4-FFF2-40B4-BE49-F238E27FC236}">
                  <a16:creationId xmlns:a16="http://schemas.microsoft.com/office/drawing/2014/main" id="{398A5C11-2731-3B48-904F-6DAA22A1515C}"/>
                </a:ext>
              </a:extLst>
            </p:cNvPr>
            <p:cNvSpPr/>
            <p:nvPr/>
          </p:nvSpPr>
          <p:spPr>
            <a:xfrm>
              <a:off x="3740952" y="1296125"/>
              <a:ext cx="700588" cy="338554"/>
            </a:xfrm>
            <a:prstGeom prst="rect">
              <a:avLst/>
            </a:prstGeom>
            <a:solidFill>
              <a:schemeClr val="bg1"/>
            </a:solidFill>
          </p:spPr>
          <p:txBody>
            <a:bodyPr wrap="none" rIns="48000">
              <a:noAutofit/>
            </a:bodyPr>
            <a:lstStyle/>
            <a:p>
              <a:pPr algn="r"/>
              <a:r>
                <a:rPr lang="en-GB" sz="1067" dirty="0">
                  <a:solidFill>
                    <a:schemeClr val="tx1">
                      <a:lumMod val="75000"/>
                      <a:lumOff val="25000"/>
                    </a:schemeClr>
                  </a:solidFill>
                </a:rPr>
                <a:t>Blockchain</a:t>
              </a:r>
              <a:br>
                <a:rPr lang="en-GB" sz="1067" dirty="0">
                  <a:solidFill>
                    <a:schemeClr val="tx1">
                      <a:lumMod val="75000"/>
                      <a:lumOff val="25000"/>
                    </a:schemeClr>
                  </a:solidFill>
                </a:rPr>
              </a:br>
              <a:r>
                <a:rPr lang="en-GB" sz="1067" dirty="0">
                  <a:solidFill>
                    <a:schemeClr val="tx1">
                      <a:lumMod val="75000"/>
                      <a:lumOff val="25000"/>
                    </a:schemeClr>
                  </a:solidFill>
                </a:rPr>
                <a:t>Node</a:t>
              </a:r>
            </a:p>
          </p:txBody>
        </p:sp>
        <p:sp>
          <p:nvSpPr>
            <p:cNvPr id="29" name="Rectangle 28">
              <a:extLst>
                <a:ext uri="{FF2B5EF4-FFF2-40B4-BE49-F238E27FC236}">
                  <a16:creationId xmlns:a16="http://schemas.microsoft.com/office/drawing/2014/main" id="{4DA86451-4BAE-BF47-9C7C-1E391019EF49}"/>
                </a:ext>
              </a:extLst>
            </p:cNvPr>
            <p:cNvSpPr/>
            <p:nvPr/>
          </p:nvSpPr>
          <p:spPr>
            <a:xfrm>
              <a:off x="4987504" y="2622407"/>
              <a:ext cx="683200" cy="338554"/>
            </a:xfrm>
            <a:prstGeom prst="rect">
              <a:avLst/>
            </a:prstGeom>
            <a:solidFill>
              <a:schemeClr val="bg1"/>
            </a:solidFill>
          </p:spPr>
          <p:txBody>
            <a:bodyPr wrap="none">
              <a:noAutofit/>
            </a:bodyPr>
            <a:lstStyle/>
            <a:p>
              <a:pPr algn="ctr"/>
              <a:r>
                <a:rPr lang="en-GB" sz="1067" dirty="0">
                  <a:solidFill>
                    <a:schemeClr val="tx1">
                      <a:lumMod val="75000"/>
                      <a:lumOff val="25000"/>
                    </a:schemeClr>
                  </a:solidFill>
                </a:rPr>
                <a:t>Blockchain</a:t>
              </a:r>
              <a:br>
                <a:rPr lang="en-GB" sz="1067" dirty="0">
                  <a:solidFill>
                    <a:schemeClr val="tx1">
                      <a:lumMod val="75000"/>
                      <a:lumOff val="25000"/>
                    </a:schemeClr>
                  </a:solidFill>
                </a:rPr>
              </a:br>
              <a:r>
                <a:rPr lang="en-GB" sz="1067" dirty="0">
                  <a:solidFill>
                    <a:schemeClr val="tx1">
                      <a:lumMod val="75000"/>
                      <a:lumOff val="25000"/>
                    </a:schemeClr>
                  </a:solidFill>
                </a:rPr>
                <a:t>Node</a:t>
              </a:r>
            </a:p>
          </p:txBody>
        </p:sp>
        <p:sp>
          <p:nvSpPr>
            <p:cNvPr id="30" name="Rectangle 29">
              <a:extLst>
                <a:ext uri="{FF2B5EF4-FFF2-40B4-BE49-F238E27FC236}">
                  <a16:creationId xmlns:a16="http://schemas.microsoft.com/office/drawing/2014/main" id="{BA0A0512-1075-1946-B430-BCC82DC978E7}"/>
                </a:ext>
              </a:extLst>
            </p:cNvPr>
            <p:cNvSpPr/>
            <p:nvPr/>
          </p:nvSpPr>
          <p:spPr>
            <a:xfrm>
              <a:off x="6755370" y="2622407"/>
              <a:ext cx="683200" cy="338554"/>
            </a:xfrm>
            <a:prstGeom prst="rect">
              <a:avLst/>
            </a:prstGeom>
            <a:solidFill>
              <a:schemeClr val="bg1"/>
            </a:solidFill>
          </p:spPr>
          <p:txBody>
            <a:bodyPr wrap="none">
              <a:noAutofit/>
            </a:bodyPr>
            <a:lstStyle/>
            <a:p>
              <a:pPr algn="ctr"/>
              <a:r>
                <a:rPr lang="en-GB" sz="1067" dirty="0">
                  <a:solidFill>
                    <a:schemeClr val="tx1">
                      <a:lumMod val="75000"/>
                      <a:lumOff val="25000"/>
                    </a:schemeClr>
                  </a:solidFill>
                </a:rPr>
                <a:t>Blockchain</a:t>
              </a:r>
              <a:br>
                <a:rPr lang="en-GB" sz="1067" dirty="0">
                  <a:solidFill>
                    <a:schemeClr val="tx1">
                      <a:lumMod val="75000"/>
                      <a:lumOff val="25000"/>
                    </a:schemeClr>
                  </a:solidFill>
                </a:rPr>
              </a:br>
              <a:r>
                <a:rPr lang="en-GB" sz="1067" dirty="0">
                  <a:solidFill>
                    <a:schemeClr val="tx1">
                      <a:lumMod val="75000"/>
                      <a:lumOff val="25000"/>
                    </a:schemeClr>
                  </a:solidFill>
                </a:rPr>
                <a:t>Node</a:t>
              </a:r>
            </a:p>
          </p:txBody>
        </p:sp>
        <p:sp>
          <p:nvSpPr>
            <p:cNvPr id="31" name="Rectangle 30">
              <a:extLst>
                <a:ext uri="{FF2B5EF4-FFF2-40B4-BE49-F238E27FC236}">
                  <a16:creationId xmlns:a16="http://schemas.microsoft.com/office/drawing/2014/main" id="{D6DCB495-1235-A544-9333-07EB218F09C9}"/>
                </a:ext>
              </a:extLst>
            </p:cNvPr>
            <p:cNvSpPr/>
            <p:nvPr/>
          </p:nvSpPr>
          <p:spPr>
            <a:xfrm>
              <a:off x="8026034" y="1286007"/>
              <a:ext cx="753536" cy="338554"/>
            </a:xfrm>
            <a:prstGeom prst="rect">
              <a:avLst/>
            </a:prstGeom>
            <a:solidFill>
              <a:schemeClr val="bg1"/>
            </a:solidFill>
          </p:spPr>
          <p:txBody>
            <a:bodyPr wrap="none" lIns="48000" rIns="144000">
              <a:noAutofit/>
            </a:bodyPr>
            <a:lstStyle/>
            <a:p>
              <a:r>
                <a:rPr lang="en-GB" sz="1067" dirty="0">
                  <a:solidFill>
                    <a:schemeClr val="tx1">
                      <a:lumMod val="75000"/>
                      <a:lumOff val="25000"/>
                    </a:schemeClr>
                  </a:solidFill>
                </a:rPr>
                <a:t>Blockchain</a:t>
              </a:r>
              <a:br>
                <a:rPr lang="en-GB" sz="1067" dirty="0">
                  <a:solidFill>
                    <a:schemeClr val="tx1">
                      <a:lumMod val="75000"/>
                      <a:lumOff val="25000"/>
                    </a:schemeClr>
                  </a:solidFill>
                </a:rPr>
              </a:br>
              <a:r>
                <a:rPr lang="en-GB" sz="1067" dirty="0">
                  <a:solidFill>
                    <a:schemeClr val="tx1">
                      <a:lumMod val="75000"/>
                      <a:lumOff val="25000"/>
                    </a:schemeClr>
                  </a:solidFill>
                </a:rPr>
                <a:t>Node</a:t>
              </a:r>
            </a:p>
          </p:txBody>
        </p:sp>
        <p:sp>
          <p:nvSpPr>
            <p:cNvPr id="32" name="Rectangle 31">
              <a:extLst>
                <a:ext uri="{FF2B5EF4-FFF2-40B4-BE49-F238E27FC236}">
                  <a16:creationId xmlns:a16="http://schemas.microsoft.com/office/drawing/2014/main" id="{8CCB1566-8F4F-FA4B-B184-C64BF7558AD2}"/>
                </a:ext>
              </a:extLst>
            </p:cNvPr>
            <p:cNvSpPr/>
            <p:nvPr/>
          </p:nvSpPr>
          <p:spPr>
            <a:xfrm>
              <a:off x="5866561" y="272944"/>
              <a:ext cx="683200" cy="338554"/>
            </a:xfrm>
            <a:prstGeom prst="rect">
              <a:avLst/>
            </a:prstGeom>
            <a:solidFill>
              <a:schemeClr val="bg1"/>
            </a:solidFill>
          </p:spPr>
          <p:txBody>
            <a:bodyPr wrap="none">
              <a:noAutofit/>
            </a:bodyPr>
            <a:lstStyle/>
            <a:p>
              <a:pPr algn="ctr"/>
              <a:r>
                <a:rPr lang="en-GB" sz="1067" dirty="0">
                  <a:solidFill>
                    <a:schemeClr val="tx1">
                      <a:lumMod val="75000"/>
                      <a:lumOff val="25000"/>
                    </a:schemeClr>
                  </a:solidFill>
                </a:rPr>
                <a:t>Blockchain</a:t>
              </a:r>
              <a:br>
                <a:rPr lang="en-GB" sz="1067" dirty="0">
                  <a:solidFill>
                    <a:schemeClr val="tx1">
                      <a:lumMod val="75000"/>
                      <a:lumOff val="25000"/>
                    </a:schemeClr>
                  </a:solidFill>
                </a:rPr>
              </a:br>
              <a:r>
                <a:rPr lang="en-GB" sz="1067" dirty="0">
                  <a:solidFill>
                    <a:schemeClr val="tx1">
                      <a:lumMod val="75000"/>
                      <a:lumOff val="25000"/>
                    </a:schemeClr>
                  </a:solidFill>
                </a:rPr>
                <a:t>Node</a:t>
              </a:r>
            </a:p>
          </p:txBody>
        </p:sp>
      </p:grpSp>
      <p:grpSp>
        <p:nvGrpSpPr>
          <p:cNvPr id="36" name="Group 35">
            <a:extLst>
              <a:ext uri="{FF2B5EF4-FFF2-40B4-BE49-F238E27FC236}">
                <a16:creationId xmlns:a16="http://schemas.microsoft.com/office/drawing/2014/main" id="{66A76A7F-A532-A34E-B0DF-F46B46D300C8}"/>
              </a:ext>
            </a:extLst>
          </p:cNvPr>
          <p:cNvGrpSpPr/>
          <p:nvPr/>
        </p:nvGrpSpPr>
        <p:grpSpPr>
          <a:xfrm>
            <a:off x="484318" y="5658399"/>
            <a:ext cx="11210053" cy="739200"/>
            <a:chOff x="363238" y="4281477"/>
            <a:chExt cx="8407540" cy="504000"/>
          </a:xfrm>
          <a:solidFill>
            <a:schemeClr val="accent4">
              <a:lumMod val="75000"/>
            </a:schemeClr>
          </a:solidFill>
          <a:effectLst>
            <a:outerShdw blurRad="50800" dist="38100" dir="2700000" algn="tl" rotWithShape="0">
              <a:prstClr val="black">
                <a:alpha val="40000"/>
              </a:prstClr>
            </a:outerShdw>
          </a:effectLst>
        </p:grpSpPr>
        <p:sp>
          <p:nvSpPr>
            <p:cNvPr id="16" name="TextBox 15">
              <a:extLst>
                <a:ext uri="{FF2B5EF4-FFF2-40B4-BE49-F238E27FC236}">
                  <a16:creationId xmlns:a16="http://schemas.microsoft.com/office/drawing/2014/main" id="{BE05C09E-FA0E-EC40-9B2F-E46560F586B2}"/>
                </a:ext>
              </a:extLst>
            </p:cNvPr>
            <p:cNvSpPr txBox="1"/>
            <p:nvPr/>
          </p:nvSpPr>
          <p:spPr>
            <a:xfrm>
              <a:off x="1538654" y="4281477"/>
              <a:ext cx="1700004" cy="50400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algn="ctr"/>
              <a:r>
                <a:rPr lang="en-GB" sz="2133" b="1" dirty="0">
                  <a:solidFill>
                    <a:schemeClr val="bg1"/>
                  </a:solidFill>
                </a:rPr>
                <a:t>Blockchain is </a:t>
              </a:r>
              <a:br>
                <a:rPr lang="en-GB" sz="2133" b="1" dirty="0">
                  <a:solidFill>
                    <a:schemeClr val="bg1"/>
                  </a:solidFill>
                </a:rPr>
              </a:br>
              <a:r>
                <a:rPr lang="en-GB" sz="2133" b="1" dirty="0">
                  <a:solidFill>
                    <a:schemeClr val="bg1"/>
                  </a:solidFill>
                </a:rPr>
                <a:t>not Bitcoin</a:t>
              </a:r>
            </a:p>
          </p:txBody>
        </p:sp>
        <p:sp>
          <p:nvSpPr>
            <p:cNvPr id="33" name="Rectangle 32">
              <a:extLst>
                <a:ext uri="{FF2B5EF4-FFF2-40B4-BE49-F238E27FC236}">
                  <a16:creationId xmlns:a16="http://schemas.microsoft.com/office/drawing/2014/main" id="{3B6EF1E9-7894-D84E-BC2F-A621A08F0D03}"/>
                </a:ext>
              </a:extLst>
            </p:cNvPr>
            <p:cNvSpPr/>
            <p:nvPr/>
          </p:nvSpPr>
          <p:spPr>
            <a:xfrm>
              <a:off x="3238658" y="4281477"/>
              <a:ext cx="5532120" cy="50400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r>
                <a:rPr lang="en-GB" sz="1600" dirty="0">
                  <a:solidFill>
                    <a:schemeClr val="bg1"/>
                  </a:solidFill>
                </a:rPr>
                <a:t>bitcoin: unregulated, censorship-resistant shadow currency offering “anonymity”</a:t>
              </a:r>
            </a:p>
            <a:p>
              <a:r>
                <a:rPr lang="en-GB" sz="1600" dirty="0">
                  <a:solidFill>
                    <a:schemeClr val="bg1"/>
                  </a:solidFill>
                </a:rPr>
                <a:t>bitcoin: first Blockchain application pioneer of Blockchain technology</a:t>
              </a:r>
            </a:p>
          </p:txBody>
        </p:sp>
        <p:sp>
          <p:nvSpPr>
            <p:cNvPr id="35" name="TextBox 34">
              <a:extLst>
                <a:ext uri="{FF2B5EF4-FFF2-40B4-BE49-F238E27FC236}">
                  <a16:creationId xmlns:a16="http://schemas.microsoft.com/office/drawing/2014/main" id="{1BEC2716-CB0B-0C48-AB36-6B7731DF66E0}"/>
                </a:ext>
              </a:extLst>
            </p:cNvPr>
            <p:cNvSpPr txBox="1"/>
            <p:nvPr/>
          </p:nvSpPr>
          <p:spPr>
            <a:xfrm>
              <a:off x="363238" y="4281477"/>
              <a:ext cx="1175415" cy="50400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48000" rIns="0" bIns="0" numCol="1" spcCol="38100" rtlCol="0" anchor="ctr" anchorCtr="0">
              <a:noAutofit/>
            </a:bodyPr>
            <a:lstStyle/>
            <a:p>
              <a:pPr algn="ctr"/>
              <a:r>
                <a:rPr lang="en-GB" sz="2133" b="1" dirty="0">
                  <a:solidFill>
                    <a:schemeClr val="bg1"/>
                  </a:solidFill>
                </a:rPr>
                <a:t>!</a:t>
              </a:r>
            </a:p>
          </p:txBody>
        </p:sp>
        <p:sp>
          <p:nvSpPr>
            <p:cNvPr id="34" name="Triangle 33">
              <a:extLst>
                <a:ext uri="{FF2B5EF4-FFF2-40B4-BE49-F238E27FC236}">
                  <a16:creationId xmlns:a16="http://schemas.microsoft.com/office/drawing/2014/main" id="{C591D838-A8F1-AF45-AA35-BCAF2A1ED557}"/>
                </a:ext>
              </a:extLst>
            </p:cNvPr>
            <p:cNvSpPr/>
            <p:nvPr/>
          </p:nvSpPr>
          <p:spPr>
            <a:xfrm>
              <a:off x="621637" y="4339623"/>
              <a:ext cx="658614" cy="352541"/>
            </a:xfrm>
            <a:prstGeom prst="triangle">
              <a:avLst/>
            </a:prstGeom>
            <a:noFill/>
            <a:ln w="57150" cap="flat">
              <a:solidFill>
                <a:schemeClr val="bg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ctr" anchorCtr="0" forceAA="0" compatLnSpc="1">
              <a:prstTxWarp prst="textNoShape">
                <a:avLst/>
              </a:prstTxWarp>
              <a:noAutofit/>
            </a:bodyPr>
            <a:lstStyle/>
            <a:p>
              <a:pPr algn="ctr" defTabSz="623360" hangingPunct="0"/>
              <a:endParaRPr lang="en-GB" sz="1333" dirty="0">
                <a:solidFill>
                  <a:schemeClr val="bg1"/>
                </a:solidFill>
                <a:latin typeface="Arial"/>
                <a:ea typeface="Arial"/>
                <a:cs typeface="Arial"/>
                <a:sym typeface="Arial"/>
              </a:endParaRPr>
            </a:p>
          </p:txBody>
        </p:sp>
      </p:grpSp>
    </p:spTree>
    <p:extLst>
      <p:ext uri="{BB962C8B-B14F-4D97-AF65-F5344CB8AC3E}">
        <p14:creationId xmlns:p14="http://schemas.microsoft.com/office/powerpoint/2010/main" val="290770208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pPr>
              <a:defRPr/>
            </a:pPr>
            <a:r>
              <a:rPr lang="en-US" sz="4500" dirty="0">
                <a:solidFill>
                  <a:srgbClr val="094E9E"/>
                </a:solidFill>
                <a:latin typeface="Lubalin Extra Light for IBM"/>
                <a:cs typeface="Lubalin Extra Light for IBM"/>
              </a:rPr>
              <a:t>Crypto Currency &amp; </a:t>
            </a:r>
            <a:r>
              <a:rPr lang="en-US" sz="4500" dirty="0" err="1">
                <a:solidFill>
                  <a:srgbClr val="094E9E"/>
                </a:solidFill>
                <a:latin typeface="Lubalin Extra Light for IBM"/>
                <a:cs typeface="Lubalin Extra Light for IBM"/>
              </a:rPr>
              <a:t>Blockchain</a:t>
            </a:r>
            <a:endParaRPr lang="en-US" sz="4500" dirty="0">
              <a:solidFill>
                <a:srgbClr val="094E9E"/>
              </a:solidFill>
              <a:latin typeface="Lubalin Extra Light for IBM"/>
              <a:cs typeface="Lubalin Extra Light for IBM"/>
            </a:endParaRPr>
          </a:p>
        </p:txBody>
      </p:sp>
    </p:spTree>
    <p:extLst>
      <p:ext uri="{BB962C8B-B14F-4D97-AF65-F5344CB8AC3E}">
        <p14:creationId xmlns:p14="http://schemas.microsoft.com/office/powerpoint/2010/main" val="2005173455"/>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38E43-617F-C846-93E9-5CFE1277F445}"/>
              </a:ext>
            </a:extLst>
          </p:cNvPr>
          <p:cNvSpPr/>
          <p:nvPr/>
        </p:nvSpPr>
        <p:spPr>
          <a:xfrm>
            <a:off x="6794500" y="0"/>
            <a:ext cx="5397500" cy="6986528"/>
          </a:xfrm>
          <a:prstGeom prst="rect">
            <a:avLst/>
          </a:prstGeom>
          <a:solidFill>
            <a:schemeClr val="accent1">
              <a:lumMod val="20000"/>
              <a:lumOff val="80000"/>
            </a:schemeClr>
          </a:solidFill>
        </p:spPr>
        <p:txBody>
          <a:bodyPr wrap="square">
            <a:spAutoFit/>
          </a:bodyPr>
          <a:lstStyle/>
          <a:p>
            <a:pPr marL="285750" indent="-285750">
              <a:buFont typeface=".AppleSystemUIFont"/>
              <a:buChar char="-"/>
            </a:pPr>
            <a:endParaRPr lang="en-IN" sz="1600" b="1" i="1" dirty="0"/>
          </a:p>
          <a:p>
            <a:pPr marL="285750" indent="-285750">
              <a:buFont typeface=".AppleSystemUIFont"/>
              <a:buChar char="-"/>
            </a:pPr>
            <a:endParaRPr lang="en-IN" sz="1600" b="1" i="1" dirty="0"/>
          </a:p>
          <a:p>
            <a:pPr marL="285750" indent="-285750">
              <a:buFont typeface=".AppleSystemUIFont"/>
              <a:buChar char="-"/>
            </a:pPr>
            <a:endParaRPr lang="en-IN" sz="1600" b="1" i="1" dirty="0"/>
          </a:p>
          <a:p>
            <a:pPr marL="285750" indent="-285750">
              <a:buFont typeface=".AppleSystemUIFont"/>
              <a:buChar char="-"/>
            </a:pPr>
            <a:endParaRPr lang="en-IN" sz="1600" b="1" i="1" dirty="0"/>
          </a:p>
          <a:p>
            <a:pPr marL="285750" indent="-285750">
              <a:buFont typeface=".AppleSystemUIFont"/>
              <a:buChar char="-"/>
            </a:pPr>
            <a:endParaRPr lang="en-IN" sz="1600" b="1" i="1" dirty="0"/>
          </a:p>
          <a:p>
            <a:endParaRPr lang="en-IN" sz="1600" b="1" i="1" dirty="0"/>
          </a:p>
          <a:p>
            <a:pPr marL="285750" indent="-285750">
              <a:buFont typeface=".AppleSystemUIFont"/>
              <a:buChar char="-"/>
            </a:pPr>
            <a:endParaRPr lang="en-IN" sz="1600" b="1" i="1" dirty="0"/>
          </a:p>
          <a:p>
            <a:pPr marL="285750" indent="-285750">
              <a:buFont typeface=".AppleSystemUIFont"/>
              <a:buChar char="-"/>
            </a:pPr>
            <a:r>
              <a:rPr lang="en-IN" sz="1600" b="1" i="1" dirty="0"/>
              <a:t>1983: DAVID CHAUM </a:t>
            </a:r>
            <a:r>
              <a:rPr lang="en-IN" sz="1600" dirty="0"/>
              <a:t>introduced the idea of digital cash in a research paper.</a:t>
            </a:r>
          </a:p>
          <a:p>
            <a:pPr marL="285750" indent="-285750">
              <a:buFont typeface=".AppleSystemUIFont"/>
              <a:buChar char="-"/>
            </a:pPr>
            <a:endParaRPr lang="en-IN" sz="1600" dirty="0"/>
          </a:p>
          <a:p>
            <a:pPr marL="285750" indent="-285750">
              <a:buFont typeface=".AppleSystemUIFont"/>
              <a:buChar char="-"/>
            </a:pPr>
            <a:r>
              <a:rPr lang="en-IN" sz="1600" b="1" i="1" dirty="0"/>
              <a:t>1990: DIGICASH</a:t>
            </a:r>
            <a:r>
              <a:rPr lang="en-IN" sz="1600" dirty="0"/>
              <a:t>, an electronic cash company, in Amsterdam, is founded by </a:t>
            </a:r>
            <a:r>
              <a:rPr lang="en-IN" sz="1600" dirty="0" err="1"/>
              <a:t>Chaum</a:t>
            </a:r>
            <a:r>
              <a:rPr lang="en-IN" sz="1600" dirty="0"/>
              <a:t> to commercialize the ideas in his research.</a:t>
            </a:r>
            <a:r>
              <a:rPr lang="en-IN" sz="1600" baseline="30000" dirty="0"/>
              <a:t> </a:t>
            </a:r>
            <a:r>
              <a:rPr lang="en-IN" sz="1600" dirty="0"/>
              <a:t>It filed for bankruptcy in 1998. </a:t>
            </a:r>
          </a:p>
          <a:p>
            <a:pPr marL="285750" indent="-285750">
              <a:buFont typeface=".AppleSystemUIFont"/>
              <a:buChar char="-"/>
            </a:pPr>
            <a:endParaRPr lang="en-IN" sz="1600" dirty="0"/>
          </a:p>
          <a:p>
            <a:pPr marL="285750" indent="-285750">
              <a:buFont typeface=".AppleSystemUIFont"/>
              <a:buChar char="-"/>
            </a:pPr>
            <a:r>
              <a:rPr lang="en-IN" sz="1600" b="1" i="1" dirty="0"/>
              <a:t>1997: COCA-COLA</a:t>
            </a:r>
            <a:r>
              <a:rPr lang="en-IN" sz="1600" dirty="0"/>
              <a:t> offered buying from vending machines using mobile payments.</a:t>
            </a:r>
          </a:p>
          <a:p>
            <a:pPr marL="285750" indent="-285750">
              <a:buFont typeface=".AppleSystemUIFont"/>
              <a:buChar char="-"/>
            </a:pPr>
            <a:endParaRPr lang="en-IN" sz="1600" dirty="0"/>
          </a:p>
          <a:p>
            <a:pPr marL="285750" indent="-285750">
              <a:buFont typeface=".AppleSystemUIFont"/>
              <a:buChar char="-"/>
            </a:pPr>
            <a:r>
              <a:rPr lang="en-IN" sz="1600" b="1" i="1" dirty="0"/>
              <a:t>1996: E-GOLD </a:t>
            </a:r>
            <a:r>
              <a:rPr lang="en-IN" sz="1600" dirty="0"/>
              <a:t>founded and backed by gold</a:t>
            </a:r>
          </a:p>
          <a:p>
            <a:pPr marL="285750" indent="-285750">
              <a:buFont typeface=".AppleSystemUIFont"/>
              <a:buChar char="-"/>
            </a:pPr>
            <a:endParaRPr lang="en-IN" sz="1600" dirty="0"/>
          </a:p>
          <a:p>
            <a:pPr marL="285750" indent="-285750">
              <a:buFont typeface=".AppleSystemUIFont"/>
              <a:buChar char="-"/>
            </a:pPr>
            <a:r>
              <a:rPr lang="en-IN" sz="1600" b="1" i="1" dirty="0"/>
              <a:t>1999: PAPYPAL </a:t>
            </a:r>
            <a:r>
              <a:rPr lang="en-IN" sz="1600" dirty="0"/>
              <a:t>was developed and launched as a money transfer service at Confinity in 1999</a:t>
            </a:r>
          </a:p>
          <a:p>
            <a:pPr marL="285750" indent="-285750">
              <a:buFont typeface=".AppleSystemUIFont"/>
              <a:buChar char="-"/>
            </a:pPr>
            <a:endParaRPr lang="en-IN" sz="1600" dirty="0"/>
          </a:p>
          <a:p>
            <a:pPr marL="285750" indent="-285750">
              <a:buFont typeface=".AppleSystemUIFont"/>
              <a:buChar char="-"/>
            </a:pPr>
            <a:r>
              <a:rPr lang="en-IN" sz="1600" b="1" i="1" dirty="0"/>
              <a:t>2006: LIBERTY RESERVE </a:t>
            </a:r>
            <a:r>
              <a:rPr lang="en-IN" sz="1600" dirty="0"/>
              <a:t>let users convert dollars or euros to Liberty Reserve Dollars or Euros</a:t>
            </a:r>
          </a:p>
          <a:p>
            <a:endParaRPr lang="en-IN" sz="1600" dirty="0"/>
          </a:p>
          <a:p>
            <a:pPr marL="285750" indent="-285750">
              <a:buFont typeface=".AppleSystemUIFont"/>
              <a:buChar char="-"/>
            </a:pPr>
            <a:r>
              <a:rPr lang="en-IN" sz="1600" b="1" i="1" dirty="0"/>
              <a:t>2008: BITCOIN </a:t>
            </a:r>
            <a:r>
              <a:rPr lang="en-IN" sz="1600" dirty="0"/>
              <a:t>is introduced, setting up a wave of digital currencies</a:t>
            </a:r>
          </a:p>
          <a:p>
            <a:pPr marL="285750" indent="-285750">
              <a:buFont typeface=".AppleSystemUIFont"/>
              <a:buChar char="-"/>
            </a:pPr>
            <a:endParaRPr lang="en-US" sz="1600" dirty="0">
              <a:solidFill>
                <a:schemeClr val="tx1">
                  <a:lumMod val="75000"/>
                  <a:lumOff val="25000"/>
                </a:schemeClr>
              </a:solidFill>
            </a:endParaRPr>
          </a:p>
        </p:txBody>
      </p:sp>
      <p:sp>
        <p:nvSpPr>
          <p:cNvPr id="2" name="Rectangle 1"/>
          <p:cNvSpPr/>
          <p:nvPr/>
        </p:nvSpPr>
        <p:spPr>
          <a:xfrm>
            <a:off x="365761" y="1461730"/>
            <a:ext cx="6080009" cy="5078313"/>
          </a:xfrm>
          <a:prstGeom prst="rect">
            <a:avLst/>
          </a:prstGeom>
        </p:spPr>
        <p:txBody>
          <a:bodyPr wrap="square">
            <a:spAutoFit/>
          </a:bodyPr>
          <a:lstStyle/>
          <a:p>
            <a:r>
              <a:rPr lang="en-US" b="1" dirty="0">
                <a:solidFill>
                  <a:srgbClr val="0070C0"/>
                </a:solidFill>
              </a:rPr>
              <a:t>Money Transfers</a:t>
            </a:r>
          </a:p>
          <a:p>
            <a:pPr marL="304792" indent="-304792">
              <a:buFont typeface="+mj-lt"/>
              <a:buAutoNum type="arabicPeriod"/>
            </a:pPr>
            <a:r>
              <a:rPr lang="en-US" sz="1600" dirty="0">
                <a:solidFill>
                  <a:schemeClr val="tx1">
                    <a:lumMod val="75000"/>
                    <a:lumOff val="25000"/>
                  </a:schemeClr>
                </a:solidFill>
              </a:rPr>
              <a:t>had to transfer money internationally, and been whacked with both a sizable fee and a terrible exchange rate? </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tried to understand why transfers take many hours or even several days, when ATMs function instantaneously? </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Used an international ATM, and paid five-dollar fees?</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Not able to use your  debit cards outside of their own nation? </a:t>
            </a:r>
          </a:p>
          <a:p>
            <a:pPr marL="304792" indent="-304792">
              <a:buFont typeface="+mj-lt"/>
              <a:buAutoNum type="arabicPeriod"/>
            </a:pPr>
            <a:endParaRPr lang="en-US" sz="1600" dirty="0"/>
          </a:p>
          <a:p>
            <a:r>
              <a:rPr lang="en-US" b="1" dirty="0">
                <a:solidFill>
                  <a:srgbClr val="0070C0"/>
                </a:solidFill>
              </a:rPr>
              <a:t>Banking</a:t>
            </a:r>
          </a:p>
          <a:p>
            <a:pPr marL="304792" indent="-304792">
              <a:buFont typeface="+mj-lt"/>
              <a:buAutoNum type="arabicPeriod"/>
            </a:pPr>
            <a:r>
              <a:rPr lang="en-US" sz="1600" dirty="0">
                <a:solidFill>
                  <a:schemeClr val="tx1">
                    <a:lumMod val="75000"/>
                    <a:lumOff val="25000"/>
                  </a:schemeClr>
                </a:solidFill>
              </a:rPr>
              <a:t>Been to a country where majority of the population is unbanked? </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had to change money on the black market? </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left a country with local currency that was essentially worthless, </a:t>
            </a:r>
            <a:r>
              <a:rPr lang="en-US" sz="1600" dirty="0" err="1">
                <a:solidFill>
                  <a:schemeClr val="tx1">
                    <a:lumMod val="75000"/>
                    <a:lumOff val="25000"/>
                  </a:schemeClr>
                </a:solidFill>
              </a:rPr>
              <a:t>unexchangeable</a:t>
            </a:r>
            <a:r>
              <a:rPr lang="en-US" sz="1600" dirty="0">
                <a:solidFill>
                  <a:schemeClr val="tx1">
                    <a:lumMod val="75000"/>
                    <a:lumOff val="25000"/>
                  </a:schemeClr>
                </a:solidFill>
              </a:rPr>
              <a:t>, once you left its border behind? </a:t>
            </a:r>
          </a:p>
          <a:p>
            <a:pPr marL="304792" indent="-304792">
              <a:buFont typeface="+mj-lt"/>
              <a:buAutoNum type="arabicPeriod"/>
            </a:pPr>
            <a:endParaRPr lang="en-US" sz="1600" dirty="0">
              <a:solidFill>
                <a:schemeClr val="tx1">
                  <a:lumMod val="75000"/>
                  <a:lumOff val="25000"/>
                </a:schemeClr>
              </a:solidFill>
            </a:endParaRPr>
          </a:p>
          <a:p>
            <a:pPr marL="304792" indent="-304792">
              <a:buFont typeface="+mj-lt"/>
              <a:buAutoNum type="arabicPeriod"/>
            </a:pPr>
            <a:r>
              <a:rPr lang="en-US" sz="1600" dirty="0">
                <a:solidFill>
                  <a:schemeClr val="tx1">
                    <a:lumMod val="75000"/>
                    <a:lumOff val="25000"/>
                  </a:schemeClr>
                </a:solidFill>
              </a:rPr>
              <a:t>had to deal with export controls, or hyperinflation?</a:t>
            </a:r>
          </a:p>
        </p:txBody>
      </p:sp>
      <p:sp>
        <p:nvSpPr>
          <p:cNvPr id="6" name="Title 5"/>
          <p:cNvSpPr>
            <a:spLocks noGrp="1"/>
          </p:cNvSpPr>
          <p:nvPr>
            <p:ph type="title"/>
          </p:nvPr>
        </p:nvSpPr>
        <p:spPr>
          <a:xfrm>
            <a:off x="365760" y="365125"/>
            <a:ext cx="11826240" cy="1325563"/>
          </a:xfrm>
        </p:spPr>
        <p:txBody>
          <a:bodyPr/>
          <a:lstStyle/>
          <a:p>
            <a:r>
              <a:rPr lang="en-US" sz="2800" b="1" dirty="0">
                <a:solidFill>
                  <a:srgbClr val="0070C0"/>
                </a:solidFill>
                <a:latin typeface="Arial" panose="020B0604020202020204" pitchFamily="34" charset="0"/>
                <a:cs typeface="Arial" panose="020B0604020202020204" pitchFamily="34" charset="0"/>
              </a:rPr>
              <a:t>Age old problems                                   Historic Solutions … </a:t>
            </a:r>
          </a:p>
        </p:txBody>
      </p:sp>
      <p:sp>
        <p:nvSpPr>
          <p:cNvPr id="8" name="Slide Number Placeholder 7">
            <a:extLst>
              <a:ext uri="{FF2B5EF4-FFF2-40B4-BE49-F238E27FC236}">
                <a16:creationId xmlns:a16="http://schemas.microsoft.com/office/drawing/2014/main" id="{E430C116-D11D-4A4F-A079-13E0D4D5B127}"/>
              </a:ext>
            </a:extLst>
          </p:cNvPr>
          <p:cNvSpPr>
            <a:spLocks noGrp="1"/>
          </p:cNvSpPr>
          <p:nvPr>
            <p:ph type="sldNum" sz="quarter" idx="12"/>
          </p:nvPr>
        </p:nvSpPr>
        <p:spPr/>
        <p:txBody>
          <a:bodyPr/>
          <a:lstStyle/>
          <a:p>
            <a:fld id="{204E7179-45AD-B649-808D-F59F06071EF6}" type="slidenum">
              <a:rPr lang="en-US" smtClean="0"/>
              <a:t>7</a:t>
            </a:fld>
            <a:endParaRPr lang="en-US"/>
          </a:p>
        </p:txBody>
      </p:sp>
    </p:spTree>
    <p:extLst>
      <p:ext uri="{BB962C8B-B14F-4D97-AF65-F5344CB8AC3E}">
        <p14:creationId xmlns:p14="http://schemas.microsoft.com/office/powerpoint/2010/main" val="4101203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1506547"/>
            <a:ext cx="7056863" cy="5078313"/>
          </a:xfrm>
          <a:prstGeom prst="rect">
            <a:avLst/>
          </a:prstGeom>
        </p:spPr>
        <p:txBody>
          <a:bodyPr wrap="square">
            <a:spAutoFit/>
          </a:bodyPr>
          <a:lstStyle/>
          <a:p>
            <a:r>
              <a:rPr lang="en-US" b="1" dirty="0">
                <a:solidFill>
                  <a:srgbClr val="0070C0"/>
                </a:solidFill>
              </a:rPr>
              <a:t>Why is gold valuable? Not for itself. </a:t>
            </a:r>
          </a:p>
          <a:p>
            <a:endParaRPr lang="en-US" sz="1600" dirty="0"/>
          </a:p>
          <a:p>
            <a:r>
              <a:rPr lang="en-US" sz="1600" dirty="0">
                <a:solidFill>
                  <a:schemeClr val="tx1">
                    <a:lumMod val="50000"/>
                    <a:lumOff val="50000"/>
                  </a:schemeClr>
                </a:solidFill>
              </a:rPr>
              <a:t>Those who speak of “the gold standard” as if its worth were axiomatic, rather than a collective hallucination, forget that the value of an ounce of gold is vastly more imputed than intrinsic. </a:t>
            </a:r>
          </a:p>
          <a:p>
            <a:r>
              <a:rPr lang="en-US" sz="1600" dirty="0">
                <a:solidFill>
                  <a:schemeClr val="tx1">
                    <a:lumMod val="50000"/>
                    <a:lumOff val="50000"/>
                  </a:schemeClr>
                </a:solidFill>
              </a:rPr>
              <a:t>If we valued gold only for its shine, malleability, and conductivity, it would be worth much less.</a:t>
            </a:r>
          </a:p>
          <a:p>
            <a:endParaRPr lang="en-US" sz="1600" dirty="0"/>
          </a:p>
          <a:p>
            <a:r>
              <a:rPr lang="en-US" b="1" dirty="0">
                <a:solidFill>
                  <a:srgbClr val="0070C0"/>
                </a:solidFill>
              </a:rPr>
              <a:t>Why is bitcoin valuable? For the same reason that gold is valuable. </a:t>
            </a:r>
          </a:p>
          <a:p>
            <a:endParaRPr lang="en-US" sz="1600" dirty="0"/>
          </a:p>
          <a:p>
            <a:r>
              <a:rPr lang="en-US" sz="1600" dirty="0">
                <a:solidFill>
                  <a:schemeClr val="tx1">
                    <a:lumMod val="50000"/>
                    <a:lumOff val="50000"/>
                  </a:schemeClr>
                </a:solidFill>
              </a:rPr>
              <a:t>The most epochal financial transaction of this century, to date, occurred on May 22, 2010. it took place in Jacksonville, Florida. It was a purchase of two Papa John’s pizzas, in exchange for a payment whose present value currently exceeds US $4 million. </a:t>
            </a:r>
          </a:p>
          <a:p>
            <a:r>
              <a:rPr lang="en-US" sz="1600" dirty="0">
                <a:solidFill>
                  <a:srgbClr val="0070C0"/>
                </a:solidFill>
              </a:rPr>
              <a:t>The decision by the provider of the pizza, 18-year-old Jeremy Sturdivant, that the compensation he received—10,000 units of a newly birthed currency, one called into being from the ether of the Internet, and backed by no bank or nation—was worth real bread and cheese. </a:t>
            </a:r>
          </a:p>
          <a:p>
            <a:endParaRPr lang="en-US" sz="1600" dirty="0">
              <a:solidFill>
                <a:schemeClr val="tx1">
                  <a:lumMod val="50000"/>
                  <a:lumOff val="50000"/>
                </a:schemeClr>
              </a:solidFill>
            </a:endParaRPr>
          </a:p>
          <a:p>
            <a:r>
              <a:rPr lang="en-US" sz="1600" u="sng" dirty="0">
                <a:solidFill>
                  <a:schemeClr val="tx1">
                    <a:lumMod val="50000"/>
                    <a:lumOff val="50000"/>
                  </a:schemeClr>
                </a:solidFill>
              </a:rPr>
              <a:t>Those pepperoni pizzas were the first real-world bitcoin transaction.</a:t>
            </a:r>
          </a:p>
        </p:txBody>
      </p:sp>
      <p:sp>
        <p:nvSpPr>
          <p:cNvPr id="8" name="Title 7"/>
          <p:cNvSpPr>
            <a:spLocks noGrp="1"/>
          </p:cNvSpPr>
          <p:nvPr>
            <p:ph type="title"/>
          </p:nvPr>
        </p:nvSpPr>
        <p:spPr/>
        <p:txBody>
          <a:bodyPr>
            <a:normAutofit/>
          </a:bodyPr>
          <a:lstStyle/>
          <a:p>
            <a:r>
              <a:rPr lang="en-US" sz="2800" b="1" dirty="0">
                <a:solidFill>
                  <a:srgbClr val="0070C0"/>
                </a:solidFill>
                <a:latin typeface="Arial" panose="020B0604020202020204" pitchFamily="34" charset="0"/>
                <a:cs typeface="Arial" panose="020B0604020202020204" pitchFamily="34" charset="0"/>
              </a:rPr>
              <a:t>GOLD v/s Fiat Currency v/s  Bitcoin</a:t>
            </a:r>
          </a:p>
        </p:txBody>
      </p:sp>
      <p:sp>
        <p:nvSpPr>
          <p:cNvPr id="9" name="Rectangle 8">
            <a:extLst>
              <a:ext uri="{FF2B5EF4-FFF2-40B4-BE49-F238E27FC236}">
                <a16:creationId xmlns:a16="http://schemas.microsoft.com/office/drawing/2014/main" id="{B51D972B-D157-EA40-A740-B20895F1DE4C}"/>
              </a:ext>
            </a:extLst>
          </p:cNvPr>
          <p:cNvSpPr/>
          <p:nvPr/>
        </p:nvSpPr>
        <p:spPr>
          <a:xfrm>
            <a:off x="8001000" y="1506547"/>
            <a:ext cx="3835323" cy="5109284"/>
          </a:xfrm>
          <a:prstGeom prst="rect">
            <a:avLst/>
          </a:prstGeom>
          <a:solidFill>
            <a:schemeClr val="bg1">
              <a:lumMod val="95000"/>
            </a:schemeClr>
          </a:solidFill>
        </p:spPr>
        <p:txBody>
          <a:bodyPr wrap="square">
            <a:spAutoFit/>
          </a:bodyPr>
          <a:lstStyle/>
          <a:p>
            <a:r>
              <a:rPr lang="en-US" sz="1867" b="1" dirty="0">
                <a:solidFill>
                  <a:srgbClr val="C00000"/>
                </a:solidFill>
              </a:rPr>
              <a:t>Is Gold a solution??</a:t>
            </a:r>
          </a:p>
          <a:p>
            <a:endParaRPr lang="en-US" sz="1867" dirty="0">
              <a:solidFill>
                <a:schemeClr val="accent5"/>
              </a:solidFill>
            </a:endParaRPr>
          </a:p>
          <a:p>
            <a:pPr marL="380990" indent="-380990">
              <a:buFont typeface="Arial" charset="0"/>
              <a:buChar char="•"/>
            </a:pPr>
            <a:r>
              <a:rPr lang="en-US" dirty="0">
                <a:solidFill>
                  <a:schemeClr val="tx1">
                    <a:lumMod val="75000"/>
                    <a:lumOff val="25000"/>
                  </a:schemeClr>
                </a:solidFill>
              </a:rPr>
              <a:t>hard to counterfeit; easy to refine, </a:t>
            </a:r>
          </a:p>
          <a:p>
            <a:pPr marL="380990" indent="-380990">
              <a:buFont typeface="Arial" charset="0"/>
              <a:buChar char="•"/>
            </a:pPr>
            <a:r>
              <a:rPr lang="en-US" dirty="0">
                <a:solidFill>
                  <a:schemeClr val="tx1">
                    <a:lumMod val="75000"/>
                    <a:lumOff val="25000"/>
                  </a:schemeClr>
                </a:solidFill>
              </a:rPr>
              <a:t>merge, </a:t>
            </a:r>
          </a:p>
          <a:p>
            <a:pPr marL="380990" indent="-380990">
              <a:buFont typeface="Arial" charset="0"/>
              <a:buChar char="•"/>
            </a:pPr>
            <a:r>
              <a:rPr lang="en-US" dirty="0">
                <a:solidFill>
                  <a:schemeClr val="tx1">
                    <a:lumMod val="75000"/>
                    <a:lumOff val="25000"/>
                  </a:schemeClr>
                </a:solidFill>
              </a:rPr>
              <a:t>subdivide, </a:t>
            </a:r>
          </a:p>
          <a:p>
            <a:pPr marL="380990" indent="-380990">
              <a:buFont typeface="Arial" charset="0"/>
              <a:buChar char="•"/>
            </a:pPr>
            <a:r>
              <a:rPr lang="en-US" dirty="0">
                <a:solidFill>
                  <a:schemeClr val="tx1">
                    <a:lumMod val="75000"/>
                    <a:lumOff val="25000"/>
                  </a:schemeClr>
                </a:solidFill>
              </a:rPr>
              <a:t>and transport; </a:t>
            </a:r>
          </a:p>
          <a:p>
            <a:pPr marL="380990" indent="-380990">
              <a:buFont typeface="Arial" charset="0"/>
              <a:buChar char="•"/>
            </a:pPr>
            <a:r>
              <a:rPr lang="en-US" dirty="0">
                <a:solidFill>
                  <a:schemeClr val="tx1">
                    <a:lumMod val="75000"/>
                    <a:lumOff val="25000"/>
                  </a:schemeClr>
                </a:solidFill>
              </a:rPr>
              <a:t>and exceedingly scarce. </a:t>
            </a:r>
          </a:p>
          <a:p>
            <a:endParaRPr lang="en-US" i="1" dirty="0">
              <a:solidFill>
                <a:srgbClr val="C00000"/>
              </a:solidFill>
            </a:endParaRPr>
          </a:p>
          <a:p>
            <a:r>
              <a:rPr lang="en-US" b="1" dirty="0">
                <a:solidFill>
                  <a:srgbClr val="C00000"/>
                </a:solidFill>
              </a:rPr>
              <a:t>All the gold ever mined would not fill 4 (four) Olympic-sized swimming pools.</a:t>
            </a:r>
          </a:p>
          <a:p>
            <a:endParaRPr lang="en-US" dirty="0">
              <a:solidFill>
                <a:schemeClr val="tx1">
                  <a:lumMod val="75000"/>
                  <a:lumOff val="25000"/>
                </a:schemeClr>
              </a:solidFill>
            </a:endParaRPr>
          </a:p>
          <a:p>
            <a:r>
              <a:rPr lang="en-US" dirty="0">
                <a:solidFill>
                  <a:schemeClr val="tx1">
                    <a:lumMod val="75000"/>
                    <a:lumOff val="25000"/>
                  </a:schemeClr>
                </a:solidFill>
              </a:rPr>
              <a:t>It is these attributes, and only these attributes, which make gold an effective </a:t>
            </a:r>
            <a:r>
              <a:rPr lang="en-US" dirty="0">
                <a:solidFill>
                  <a:schemeClr val="tx1">
                    <a:lumMod val="75000"/>
                    <a:lumOff val="25000"/>
                  </a:schemeClr>
                </a:solidFill>
                <a:hlinkClick r:id="rId2"/>
              </a:rPr>
              <a:t>medium of exchange</a:t>
            </a:r>
            <a:r>
              <a:rPr lang="en-US" dirty="0">
                <a:solidFill>
                  <a:schemeClr val="tx1">
                    <a:lumMod val="75000"/>
                    <a:lumOff val="25000"/>
                  </a:schemeClr>
                </a:solidFill>
              </a:rPr>
              <a:t>, </a:t>
            </a:r>
            <a:r>
              <a:rPr lang="en-US" dirty="0">
                <a:solidFill>
                  <a:schemeClr val="tx1">
                    <a:lumMod val="75000"/>
                    <a:lumOff val="25000"/>
                  </a:schemeClr>
                </a:solidFill>
                <a:hlinkClick r:id="rId3"/>
              </a:rPr>
              <a:t>unit of account</a:t>
            </a:r>
            <a:r>
              <a:rPr lang="en-US" dirty="0">
                <a:solidFill>
                  <a:schemeClr val="tx1">
                    <a:lumMod val="75000"/>
                    <a:lumOff val="25000"/>
                  </a:schemeClr>
                </a:solidFill>
              </a:rPr>
              <a:t>, and </a:t>
            </a:r>
            <a:r>
              <a:rPr lang="en-US" dirty="0">
                <a:solidFill>
                  <a:schemeClr val="tx1">
                    <a:lumMod val="75000"/>
                    <a:lumOff val="25000"/>
                  </a:schemeClr>
                </a:solidFill>
                <a:hlinkClick r:id="rId4"/>
              </a:rPr>
              <a:t>store of value</a:t>
            </a:r>
            <a:r>
              <a:rPr lang="en-US" dirty="0">
                <a:solidFill>
                  <a:schemeClr val="tx1">
                    <a:lumMod val="75000"/>
                    <a:lumOff val="25000"/>
                  </a:schemeClr>
                </a:solidFill>
              </a:rPr>
              <a:t> … or, more succinctly, </a:t>
            </a:r>
            <a:r>
              <a:rPr lang="en-US" dirty="0">
                <a:solidFill>
                  <a:schemeClr val="tx1">
                    <a:lumMod val="75000"/>
                    <a:lumOff val="25000"/>
                  </a:schemeClr>
                </a:solidFill>
                <a:hlinkClick r:id="rId5"/>
              </a:rPr>
              <a:t>money</a:t>
            </a:r>
            <a:r>
              <a:rPr lang="en-US" dirty="0">
                <a:solidFill>
                  <a:schemeClr val="tx1">
                    <a:lumMod val="75000"/>
                    <a:lumOff val="25000"/>
                  </a:schemeClr>
                </a:solidFill>
              </a:rPr>
              <a:t>.</a:t>
            </a:r>
          </a:p>
          <a:p>
            <a:endParaRPr lang="en-US" sz="1867" dirty="0">
              <a:solidFill>
                <a:schemeClr val="accent5"/>
              </a:solidFill>
            </a:endParaRPr>
          </a:p>
        </p:txBody>
      </p:sp>
      <p:sp>
        <p:nvSpPr>
          <p:cNvPr id="2" name="Slide Number Placeholder 1">
            <a:extLst>
              <a:ext uri="{FF2B5EF4-FFF2-40B4-BE49-F238E27FC236}">
                <a16:creationId xmlns:a16="http://schemas.microsoft.com/office/drawing/2014/main" id="{98E361EF-272E-6049-A8A3-E1C08E4F83FE}"/>
              </a:ext>
            </a:extLst>
          </p:cNvPr>
          <p:cNvSpPr>
            <a:spLocks noGrp="1"/>
          </p:cNvSpPr>
          <p:nvPr>
            <p:ph type="sldNum" sz="quarter" idx="12"/>
          </p:nvPr>
        </p:nvSpPr>
        <p:spPr/>
        <p:txBody>
          <a:bodyPr/>
          <a:lstStyle/>
          <a:p>
            <a:fld id="{204E7179-45AD-B649-808D-F59F06071EF6}" type="slidenum">
              <a:rPr lang="en-US" smtClean="0"/>
              <a:t>8</a:t>
            </a:fld>
            <a:endParaRPr lang="en-US" dirty="0"/>
          </a:p>
        </p:txBody>
      </p:sp>
    </p:spTree>
    <p:extLst>
      <p:ext uri="{BB962C8B-B14F-4D97-AF65-F5344CB8AC3E}">
        <p14:creationId xmlns:p14="http://schemas.microsoft.com/office/powerpoint/2010/main" val="39336905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2"/>
          <p:cNvPicPr>
            <a:picLocks noChangeAspect="1"/>
          </p:cNvPicPr>
          <p:nvPr/>
        </p:nvPicPr>
        <p:blipFill>
          <a:blip r:embed="rId3">
            <a:extLst>
              <a:ext uri="{28A0092B-C50C-407E-A947-70E740481C1C}">
                <a14:useLocalDpi xmlns:a14="http://schemas.microsoft.com/office/drawing/2010/main" val="0"/>
              </a:ext>
            </a:extLst>
          </a:blip>
          <a:srcRect l="4518" t="20549" r="5093" b="1459"/>
          <a:stretch>
            <a:fillRect/>
          </a:stretch>
        </p:blipFill>
        <p:spPr bwMode="auto">
          <a:xfrm>
            <a:off x="1277020" y="1234440"/>
            <a:ext cx="9607784" cy="498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p:txBody>
          <a:bodyPr/>
          <a:lstStyle/>
          <a:p>
            <a:r>
              <a:rPr lang="en-US" sz="2800" b="1" dirty="0" err="1">
                <a:solidFill>
                  <a:srgbClr val="0070C0"/>
                </a:solidFill>
                <a:latin typeface="Arial" panose="020B0604020202020204" pitchFamily="34" charset="0"/>
                <a:cs typeface="Arial" panose="020B0604020202020204" pitchFamily="34" charset="0"/>
              </a:rPr>
              <a:t>Bitcon</a:t>
            </a:r>
            <a:r>
              <a:rPr lang="en-US" sz="2800" b="1" dirty="0">
                <a:solidFill>
                  <a:srgbClr val="0070C0"/>
                </a:solidFill>
                <a:latin typeface="Arial" panose="020B0604020202020204" pitchFamily="34" charset="0"/>
                <a:cs typeface="Arial" panose="020B0604020202020204" pitchFamily="34" charset="0"/>
              </a:rPr>
              <a:t> v/s Blockchain</a:t>
            </a:r>
          </a:p>
        </p:txBody>
      </p:sp>
      <p:sp>
        <p:nvSpPr>
          <p:cNvPr id="4" name="Slide Number Placeholder 4">
            <a:extLst>
              <a:ext uri="{FF2B5EF4-FFF2-40B4-BE49-F238E27FC236}">
                <a16:creationId xmlns:a16="http://schemas.microsoft.com/office/drawing/2014/main" id="{81AAEA31-E3F6-5043-8DF2-C609E0DB65A8}"/>
              </a:ext>
            </a:extLst>
          </p:cNvPr>
          <p:cNvSpPr txBox="1">
            <a:spLocks/>
          </p:cNvSpPr>
          <p:nvPr/>
        </p:nvSpPr>
        <p:spPr>
          <a:xfrm>
            <a:off x="8610600" y="650383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714FB1E-E660-F74D-BC29-F339B17ACE97}" type="slidenum">
              <a:rPr lang="uk-UA" smtClean="0"/>
              <a:pPr algn="r"/>
              <a:t>9</a:t>
            </a:fld>
            <a:endParaRPr lang="uk-UA" dirty="0"/>
          </a:p>
        </p:txBody>
      </p:sp>
    </p:spTree>
    <p:extLst>
      <p:ext uri="{BB962C8B-B14F-4D97-AF65-F5344CB8AC3E}">
        <p14:creationId xmlns:p14="http://schemas.microsoft.com/office/powerpoint/2010/main" val="1428395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_Insurance_PPT_2016_Cover-1">
  <a:themeElements>
    <a:clrScheme name="EIS_PPT_template_white_standard 1">
      <a:dk1>
        <a:srgbClr val="000000"/>
      </a:dk1>
      <a:lt1>
        <a:srgbClr val="FFFFFF"/>
      </a:lt1>
      <a:dk2>
        <a:srgbClr val="000000"/>
      </a:dk2>
      <a:lt2>
        <a:srgbClr val="808080"/>
      </a:lt2>
      <a:accent1>
        <a:srgbClr val="83D1F5"/>
      </a:accent1>
      <a:accent2>
        <a:srgbClr val="8CC63F"/>
      </a:accent2>
      <a:accent3>
        <a:srgbClr val="FFFFFF"/>
      </a:accent3>
      <a:accent4>
        <a:srgbClr val="000000"/>
      </a:accent4>
      <a:accent5>
        <a:srgbClr val="C1E5F9"/>
      </a:accent5>
      <a:accent6>
        <a:srgbClr val="7EB338"/>
      </a:accent6>
      <a:hlink>
        <a:srgbClr val="F04E37"/>
      </a:hlink>
      <a:folHlink>
        <a:srgbClr val="F19027"/>
      </a:folHlink>
    </a:clrScheme>
    <a:fontScheme name="EIS_PPT_template_white_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IS_PPT_template_white_standard 1">
        <a:dk1>
          <a:srgbClr val="000000"/>
        </a:dk1>
        <a:lt1>
          <a:srgbClr val="FFFFFF"/>
        </a:lt1>
        <a:dk2>
          <a:srgbClr val="000000"/>
        </a:dk2>
        <a:lt2>
          <a:srgbClr val="808080"/>
        </a:lt2>
        <a:accent1>
          <a:srgbClr val="83D1F5"/>
        </a:accent1>
        <a:accent2>
          <a:srgbClr val="8CC63F"/>
        </a:accent2>
        <a:accent3>
          <a:srgbClr val="FFFFFF"/>
        </a:accent3>
        <a:accent4>
          <a:srgbClr val="000000"/>
        </a:accent4>
        <a:accent5>
          <a:srgbClr val="C1E5F9"/>
        </a:accent5>
        <a:accent6>
          <a:srgbClr val="7EB338"/>
        </a:accent6>
        <a:hlink>
          <a:srgbClr val="F04E37"/>
        </a:hlink>
        <a:folHlink>
          <a:srgbClr val="F1902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878</TotalTime>
  <Words>2966</Words>
  <Application>Microsoft Macintosh PowerPoint</Application>
  <PresentationFormat>Widescreen</PresentationFormat>
  <Paragraphs>524</Paragraphs>
  <Slides>24</Slides>
  <Notes>12</Notes>
  <HiddenSlides>0</HiddenSlides>
  <MMClips>0</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6" baseType="lpstr">
      <vt:lpstr>Gulim</vt:lpstr>
      <vt:lpstr>MS PGothic</vt:lpstr>
      <vt:lpstr>MS PGothic</vt:lpstr>
      <vt:lpstr>MS UI Gothic</vt:lpstr>
      <vt:lpstr>.AppleSystemUIFont</vt:lpstr>
      <vt:lpstr>Arial</vt:lpstr>
      <vt:lpstr>Avenir Book</vt:lpstr>
      <vt:lpstr>Calibri</vt:lpstr>
      <vt:lpstr>Calibri Light</vt:lpstr>
      <vt:lpstr>Century Gothic</vt:lpstr>
      <vt:lpstr>Courier New</vt:lpstr>
      <vt:lpstr>Helvetica</vt:lpstr>
      <vt:lpstr>Helvetica Neue</vt:lpstr>
      <vt:lpstr>HelvNeue Light for IBM</vt:lpstr>
      <vt:lpstr>IBM Plex Sans</vt:lpstr>
      <vt:lpstr>Lubalin Demi for IBM</vt:lpstr>
      <vt:lpstr>Lubalin Extra Light for IBM</vt:lpstr>
      <vt:lpstr>Mangal</vt:lpstr>
      <vt:lpstr>Wingdings</vt:lpstr>
      <vt:lpstr>Office Theme</vt:lpstr>
      <vt:lpstr>IBM_Insurance_PPT_2016_Cover-1</vt:lpstr>
      <vt:lpstr>think-cell Slide</vt:lpstr>
      <vt:lpstr>Blockchain Evolution</vt:lpstr>
      <vt:lpstr>Agenda</vt:lpstr>
      <vt:lpstr>Blockchain is … </vt:lpstr>
      <vt:lpstr>The Problem Statement</vt:lpstr>
      <vt:lpstr>What is Blockchain?</vt:lpstr>
      <vt:lpstr>Crypto Currency &amp; Blockchain</vt:lpstr>
      <vt:lpstr>Age old problems                                   Historic Solutions … </vt:lpstr>
      <vt:lpstr>GOLD v/s Fiat Currency v/s  Bitcoin</vt:lpstr>
      <vt:lpstr>Bitcon v/s Blockchain</vt:lpstr>
      <vt:lpstr>The Supply of Cryptocurrency</vt:lpstr>
      <vt:lpstr>Blockchain Use Cases</vt:lpstr>
      <vt:lpstr>Blockchain Use Cases Across the Mining Value Chain </vt:lpstr>
      <vt:lpstr>IBM &amp; RCS Global collaboration for Mining</vt:lpstr>
      <vt:lpstr>PowerPoint Presentation</vt:lpstr>
      <vt:lpstr>Illustrative Art of the Possible: Non Conflict Gold Value Chain</vt:lpstr>
      <vt:lpstr>An Adoption Approach</vt:lpstr>
      <vt:lpstr>Blockchain Innovation RAPID ENGAGEMENT MODEL</vt:lpstr>
      <vt:lpstr>Public blockchain vs Private blockchain</vt:lpstr>
      <vt:lpstr>IBM Blockchain Strategy – Making Blockchain Real for Business </vt:lpstr>
      <vt:lpstr>High Level Roadmap – Success of the Pilot will depend on immediate mobilization of resources from all stakeholders within IBM and Clients</vt:lpstr>
      <vt:lpstr>Commercials – Key Cost Factors</vt:lpstr>
      <vt:lpstr>IBM References</vt:lpstr>
      <vt:lpstr>IBM Contact Details</vt:lpstr>
      <vt:lpstr>PowerPoint Presentation</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rupting Corporate Banking</dc:title>
  <dc:creator>Rakshaki Krishnamurthy</dc:creator>
  <cp:lastModifiedBy>Jitan Chandanani</cp:lastModifiedBy>
  <cp:revision>336</cp:revision>
  <dcterms:created xsi:type="dcterms:W3CDTF">2017-09-04T06:16:59Z</dcterms:created>
  <dcterms:modified xsi:type="dcterms:W3CDTF">2018-08-03T06:12:40Z</dcterms:modified>
</cp:coreProperties>
</file>